
<file path=[Content_Types].xml><?xml version="1.0" encoding="utf-8"?>
<Types xmlns="http://schemas.openxmlformats.org/package/2006/content-types">
  <Default Extension="xml" ContentType="application/xml"/>
  <Default Extension="jpg" ContentType="image/jpeg"/>
  <Default Extension="jpe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3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4.xml" ContentType="application/vnd.openxmlformats-officedocument.them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5.xml" ContentType="application/vnd.openxmlformats-officedocument.theme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  <p:sldMasterId id="2147483665" r:id="rId2"/>
    <p:sldMasterId id="2147483669" r:id="rId3"/>
    <p:sldMasterId id="2147483673" r:id="rId4"/>
    <p:sldMasterId id="2147483677" r:id="rId5"/>
  </p:sldMasterIdLst>
  <p:notesMasterIdLst>
    <p:notesMasterId r:id="rId7"/>
  </p:notesMasterIdLst>
  <p:handoutMasterIdLst>
    <p:handoutMasterId r:id="rId8"/>
  </p:handoutMasterIdLst>
  <p:sldIdLst>
    <p:sldId id="265" r:id="rId6"/>
  </p:sldIdLst>
  <p:sldSz cx="11950700" cy="6721475"/>
  <p:notesSz cx="6794500" cy="9906000"/>
  <p:custDataLst>
    <p:tags r:id="rId9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916" kern="1200">
        <a:solidFill>
          <a:schemeClr val="tx1"/>
        </a:solidFill>
        <a:latin typeface="Arial" charset="0"/>
        <a:ea typeface="+mn-ea"/>
        <a:cs typeface="+mn-cs"/>
      </a:defRPr>
    </a:lvl1pPr>
    <a:lvl2pPr marL="544178" algn="l" rtl="0" fontAlgn="base">
      <a:spcBef>
        <a:spcPct val="0"/>
      </a:spcBef>
      <a:spcAft>
        <a:spcPct val="0"/>
      </a:spcAft>
      <a:defRPr sz="1916" kern="1200">
        <a:solidFill>
          <a:schemeClr val="tx1"/>
        </a:solidFill>
        <a:latin typeface="Arial" charset="0"/>
        <a:ea typeface="+mn-ea"/>
        <a:cs typeface="+mn-cs"/>
      </a:defRPr>
    </a:lvl2pPr>
    <a:lvl3pPr marL="1088356" algn="l" rtl="0" fontAlgn="base">
      <a:spcBef>
        <a:spcPct val="0"/>
      </a:spcBef>
      <a:spcAft>
        <a:spcPct val="0"/>
      </a:spcAft>
      <a:defRPr sz="1916" kern="1200">
        <a:solidFill>
          <a:schemeClr val="tx1"/>
        </a:solidFill>
        <a:latin typeface="Arial" charset="0"/>
        <a:ea typeface="+mn-ea"/>
        <a:cs typeface="+mn-cs"/>
      </a:defRPr>
    </a:lvl3pPr>
    <a:lvl4pPr marL="1632534" algn="l" rtl="0" fontAlgn="base">
      <a:spcBef>
        <a:spcPct val="0"/>
      </a:spcBef>
      <a:spcAft>
        <a:spcPct val="0"/>
      </a:spcAft>
      <a:defRPr sz="1916" kern="1200">
        <a:solidFill>
          <a:schemeClr val="tx1"/>
        </a:solidFill>
        <a:latin typeface="Arial" charset="0"/>
        <a:ea typeface="+mn-ea"/>
        <a:cs typeface="+mn-cs"/>
      </a:defRPr>
    </a:lvl4pPr>
    <a:lvl5pPr marL="2176712" algn="l" rtl="0" fontAlgn="base">
      <a:spcBef>
        <a:spcPct val="0"/>
      </a:spcBef>
      <a:spcAft>
        <a:spcPct val="0"/>
      </a:spcAft>
      <a:defRPr sz="1916" kern="1200">
        <a:solidFill>
          <a:schemeClr val="tx1"/>
        </a:solidFill>
        <a:latin typeface="Arial" charset="0"/>
        <a:ea typeface="+mn-ea"/>
        <a:cs typeface="+mn-cs"/>
      </a:defRPr>
    </a:lvl5pPr>
    <a:lvl6pPr marL="2720890" algn="l" defTabSz="1088356" rtl="0" eaLnBrk="1" latinLnBrk="0" hangingPunct="1">
      <a:defRPr sz="1916" kern="1200">
        <a:solidFill>
          <a:schemeClr val="tx1"/>
        </a:solidFill>
        <a:latin typeface="Arial" charset="0"/>
        <a:ea typeface="+mn-ea"/>
        <a:cs typeface="+mn-cs"/>
      </a:defRPr>
    </a:lvl6pPr>
    <a:lvl7pPr marL="3265068" algn="l" defTabSz="1088356" rtl="0" eaLnBrk="1" latinLnBrk="0" hangingPunct="1">
      <a:defRPr sz="1916" kern="1200">
        <a:solidFill>
          <a:schemeClr val="tx1"/>
        </a:solidFill>
        <a:latin typeface="Arial" charset="0"/>
        <a:ea typeface="+mn-ea"/>
        <a:cs typeface="+mn-cs"/>
      </a:defRPr>
    </a:lvl7pPr>
    <a:lvl8pPr marL="3809246" algn="l" defTabSz="1088356" rtl="0" eaLnBrk="1" latinLnBrk="0" hangingPunct="1">
      <a:defRPr sz="1916" kern="1200">
        <a:solidFill>
          <a:schemeClr val="tx1"/>
        </a:solidFill>
        <a:latin typeface="Arial" charset="0"/>
        <a:ea typeface="+mn-ea"/>
        <a:cs typeface="+mn-cs"/>
      </a:defRPr>
    </a:lvl8pPr>
    <a:lvl9pPr marL="4353424" algn="l" defTabSz="1088356" rtl="0" eaLnBrk="1" latinLnBrk="0" hangingPunct="1">
      <a:defRPr sz="1916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34" userDrawn="1">
          <p15:clr>
            <a:srgbClr val="A4A3A4"/>
          </p15:clr>
        </p15:guide>
        <p15:guide id="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0" userDrawn="1">
          <p15:clr>
            <a:srgbClr val="A4A3A4"/>
          </p15:clr>
        </p15:guide>
        <p15:guide id="2" pos="2140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808080"/>
    <a:srgbClr val="329965"/>
    <a:srgbClr val="DFEFE5"/>
    <a:srgbClr val="D9FFEA"/>
    <a:srgbClr val="E6E6E6"/>
    <a:srgbClr val="6BCD97"/>
    <a:srgbClr val="3BB377"/>
    <a:srgbClr val="8C8C8C"/>
    <a:srgbClr val="969696"/>
    <a:srgbClr val="D5F0C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453" autoAdjust="0"/>
    <p:restoredTop sz="96323" autoAdjust="0"/>
  </p:normalViewPr>
  <p:slideViewPr>
    <p:cSldViewPr snapToGrid="0" snapToObjects="1">
      <p:cViewPr>
        <p:scale>
          <a:sx n="114" d="100"/>
          <a:sy n="114" d="100"/>
        </p:scale>
        <p:origin x="1368" y="1816"/>
      </p:cViewPr>
      <p:guideLst>
        <p:guide orient="horz" pos="934"/>
        <p:guide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77" d="100"/>
          <a:sy n="77" d="100"/>
        </p:scale>
        <p:origin x="4014" y="96"/>
      </p:cViewPr>
      <p:guideLst>
        <p:guide orient="horz" pos="3120"/>
        <p:guide pos="214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viewProps" Target="viewProps.xml"/><Relationship Id="rId12" Type="http://schemas.openxmlformats.org/officeDocument/2006/relationships/theme" Target="theme/theme1.xml"/><Relationship Id="rId13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Master" Target="slideMasters/slideMaster4.xml"/><Relationship Id="rId5" Type="http://schemas.openxmlformats.org/officeDocument/2006/relationships/slideMaster" Target="slideMasters/slideMaster5.xml"/><Relationship Id="rId6" Type="http://schemas.openxmlformats.org/officeDocument/2006/relationships/slide" Target="slides/slide1.xml"/><Relationship Id="rId7" Type="http://schemas.openxmlformats.org/officeDocument/2006/relationships/notesMaster" Target="notesMasters/notesMaster1.xml"/><Relationship Id="rId8" Type="http://schemas.openxmlformats.org/officeDocument/2006/relationships/handoutMaster" Target="handoutMasters/handoutMaster1.xml"/><Relationship Id="rId9" Type="http://schemas.openxmlformats.org/officeDocument/2006/relationships/tags" Target="tags/tag1.xml"/><Relationship Id="rId10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-474663" y="620713"/>
            <a:ext cx="7750176" cy="435927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95901" y="5322889"/>
            <a:ext cx="6209098" cy="15388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Master </a:t>
            </a:r>
            <a:r>
              <a:rPr lang="de-DE" noProof="0" dirty="0" err="1"/>
              <a:t>text</a:t>
            </a:r>
            <a:r>
              <a:rPr lang="de-DE" noProof="0" dirty="0"/>
              <a:t> </a:t>
            </a:r>
            <a:r>
              <a:rPr lang="de-DE" noProof="0" dirty="0" err="1"/>
              <a:t>styles</a:t>
            </a:r>
            <a:endParaRPr lang="de-DE" noProof="0" dirty="0"/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 err="1"/>
              <a:t>Four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63548" y="9526072"/>
            <a:ext cx="53901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de-DE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1065682" rtl="0" eaLnBrk="0" fontAlgn="base" hangingPunct="0">
      <a:spcBef>
        <a:spcPct val="0"/>
      </a:spcBef>
      <a:spcAft>
        <a:spcPct val="0"/>
      </a:spcAft>
      <a:buClr>
        <a:schemeClr val="tx2"/>
      </a:buClr>
      <a:defRPr sz="511" kern="1200">
        <a:solidFill>
          <a:schemeClr val="tx1"/>
        </a:solidFill>
        <a:latin typeface="Arial" charset="0"/>
        <a:ea typeface="+mn-ea"/>
        <a:cs typeface="+mn-cs"/>
      </a:defRPr>
    </a:lvl1pPr>
    <a:lvl2pPr marL="45410" indent="-43788" algn="l" defTabSz="1065682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511" kern="1200">
        <a:solidFill>
          <a:schemeClr val="tx1"/>
        </a:solidFill>
        <a:latin typeface="Arial" charset="0"/>
        <a:ea typeface="+mn-ea"/>
        <a:cs typeface="+mn-cs"/>
      </a:defRPr>
    </a:lvl2pPr>
    <a:lvl3pPr marL="115147" indent="-69737" algn="l" defTabSz="1065682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511" kern="1200">
        <a:solidFill>
          <a:schemeClr val="tx1"/>
        </a:solidFill>
        <a:latin typeface="Arial" charset="0"/>
        <a:ea typeface="+mn-ea"/>
        <a:cs typeface="+mn-cs"/>
      </a:defRPr>
    </a:lvl3pPr>
    <a:lvl4pPr marL="183262" indent="-68115" algn="l" defTabSz="1065682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511" kern="1200">
        <a:solidFill>
          <a:schemeClr val="tx1"/>
        </a:solidFill>
        <a:latin typeface="Arial" charset="0"/>
        <a:ea typeface="+mn-ea"/>
        <a:cs typeface="+mn-cs"/>
      </a:defRPr>
    </a:lvl4pPr>
    <a:lvl5pPr marL="251377" indent="-68115" algn="l" defTabSz="1065682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511" kern="1200">
        <a:solidFill>
          <a:schemeClr val="tx1"/>
        </a:solidFill>
        <a:latin typeface="Arial" charset="0"/>
        <a:ea typeface="+mn-ea"/>
        <a:cs typeface="+mn-cs"/>
      </a:defRPr>
    </a:lvl5pPr>
    <a:lvl6pPr marL="2720890" algn="l" defTabSz="1088356" rtl="0" eaLnBrk="1" latinLnBrk="0" hangingPunct="1">
      <a:defRPr sz="1430" kern="1200">
        <a:solidFill>
          <a:schemeClr val="tx1"/>
        </a:solidFill>
        <a:latin typeface="+mn-lt"/>
        <a:ea typeface="+mn-ea"/>
        <a:cs typeface="+mn-cs"/>
      </a:defRPr>
    </a:lvl6pPr>
    <a:lvl7pPr marL="3265068" algn="l" defTabSz="1088356" rtl="0" eaLnBrk="1" latinLnBrk="0" hangingPunct="1">
      <a:defRPr sz="1430" kern="1200">
        <a:solidFill>
          <a:schemeClr val="tx1"/>
        </a:solidFill>
        <a:latin typeface="+mn-lt"/>
        <a:ea typeface="+mn-ea"/>
        <a:cs typeface="+mn-cs"/>
      </a:defRPr>
    </a:lvl7pPr>
    <a:lvl8pPr marL="3809246" algn="l" defTabSz="1088356" rtl="0" eaLnBrk="1" latinLnBrk="0" hangingPunct="1">
      <a:defRPr sz="1430" kern="1200">
        <a:solidFill>
          <a:schemeClr val="tx1"/>
        </a:solidFill>
        <a:latin typeface="+mn-lt"/>
        <a:ea typeface="+mn-ea"/>
        <a:cs typeface="+mn-cs"/>
      </a:defRPr>
    </a:lvl8pPr>
    <a:lvl9pPr marL="4353424" algn="l" defTabSz="1088356" rtl="0" eaLnBrk="1" latinLnBrk="0" hangingPunct="1">
      <a:defRPr sz="143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2.emf"/><Relationship Id="rId1" Type="http://schemas.openxmlformats.org/officeDocument/2006/relationships/vmlDrawing" Target="../drawings/vmlDrawing2.vml"/><Relationship Id="rId2" Type="http://schemas.openxmlformats.org/officeDocument/2006/relationships/tags" Target="../tags/tag18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tags" Target="../tags/tag49.xml"/><Relationship Id="rId2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4" Type="http://schemas.openxmlformats.org/officeDocument/2006/relationships/image" Target="../media/image7.jpg"/><Relationship Id="rId5" Type="http://schemas.openxmlformats.org/officeDocument/2006/relationships/oleObject" Target="../embeddings/oleObject11.bin"/><Relationship Id="rId6" Type="http://schemas.openxmlformats.org/officeDocument/2006/relationships/image" Target="../media/image3.emf"/><Relationship Id="rId1" Type="http://schemas.openxmlformats.org/officeDocument/2006/relationships/vmlDrawing" Target="../drawings/vmlDrawing11.vml"/><Relationship Id="rId2" Type="http://schemas.openxmlformats.org/officeDocument/2006/relationships/tags" Target="../tags/tag8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tags" Target="../tags/tag83.xml"/><Relationship Id="rId2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tags" Target="../tags/tag84.xml"/><Relationship Id="rId2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4" Type="http://schemas.openxmlformats.org/officeDocument/2006/relationships/slideMaster" Target="../slideMasters/slideMaster2.xml"/><Relationship Id="rId5" Type="http://schemas.openxmlformats.org/officeDocument/2006/relationships/oleObject" Target="../embeddings/oleObject4.bin"/><Relationship Id="rId6" Type="http://schemas.openxmlformats.org/officeDocument/2006/relationships/image" Target="../media/image3.emf"/><Relationship Id="rId7" Type="http://schemas.openxmlformats.org/officeDocument/2006/relationships/image" Target="../media/image4.emf"/><Relationship Id="rId8" Type="http://schemas.openxmlformats.org/officeDocument/2006/relationships/image" Target="../media/image5.emf"/><Relationship Id="rId1" Type="http://schemas.openxmlformats.org/officeDocument/2006/relationships/vmlDrawing" Target="../drawings/vmlDrawing4.vml"/><Relationship Id="rId2" Type="http://schemas.openxmlformats.org/officeDocument/2006/relationships/tags" Target="../tags/tag2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tags" Target="../tags/tag23.xml"/><Relationship Id="rId2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4" Type="http://schemas.openxmlformats.org/officeDocument/2006/relationships/slideMaster" Target="../slideMasters/slideMaster3.xml"/><Relationship Id="rId5" Type="http://schemas.openxmlformats.org/officeDocument/2006/relationships/oleObject" Target="../embeddings/oleObject6.bin"/><Relationship Id="rId6" Type="http://schemas.openxmlformats.org/officeDocument/2006/relationships/image" Target="../media/image3.emf"/><Relationship Id="rId7" Type="http://schemas.openxmlformats.org/officeDocument/2006/relationships/image" Target="../media/image4.emf"/><Relationship Id="rId8" Type="http://schemas.openxmlformats.org/officeDocument/2006/relationships/image" Target="../media/image5.emf"/><Relationship Id="rId1" Type="http://schemas.openxmlformats.org/officeDocument/2006/relationships/vmlDrawing" Target="../drawings/vmlDrawing6.vml"/><Relationship Id="rId2" Type="http://schemas.openxmlformats.org/officeDocument/2006/relationships/tags" Target="../tags/tag2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tags" Target="../tags/tag28.xml"/><Relationship Id="rId2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image" Target="../media/image6.jpg"/><Relationship Id="rId5" Type="http://schemas.openxmlformats.org/officeDocument/2006/relationships/oleObject" Target="../embeddings/oleObject8.bin"/><Relationship Id="rId6" Type="http://schemas.openxmlformats.org/officeDocument/2006/relationships/image" Target="../media/image3.emf"/><Relationship Id="rId1" Type="http://schemas.openxmlformats.org/officeDocument/2006/relationships/vmlDrawing" Target="../drawings/vmlDrawing8.vml"/><Relationship Id="rId2" Type="http://schemas.openxmlformats.org/officeDocument/2006/relationships/tags" Target="../tags/tag46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4" Type="http://schemas.openxmlformats.org/officeDocument/2006/relationships/slideMaster" Target="../slideMasters/slideMaster4.xml"/><Relationship Id="rId5" Type="http://schemas.openxmlformats.org/officeDocument/2006/relationships/oleObject" Target="../embeddings/oleObject9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9.vml"/><Relationship Id="rId2" Type="http://schemas.openxmlformats.org/officeDocument/2006/relationships/tags" Target="../tags/tag4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9284567"/>
              </p:ext>
            </p:extLst>
          </p:nvPr>
        </p:nvGraphicFramePr>
        <p:xfrm>
          <a:off x="443" y="353"/>
          <a:ext cx="443" cy="3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0" name="think-cell Slide" r:id="rId4" imgW="359" imgH="358" progId="TCLayout.ActiveDocument.1">
                  <p:embed/>
                </p:oleObj>
              </mc:Choice>
              <mc:Fallback>
                <p:oleObj name="think-cell Slide" r:id="rId4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43" y="353"/>
                        <a:ext cx="443" cy="35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82405" y="169852"/>
            <a:ext cx="11403665" cy="3415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90860577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421440" y="6508273"/>
            <a:ext cx="125051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273986" y="6508273"/>
            <a:ext cx="101323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447062" y="50803"/>
            <a:ext cx="12071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hf hdr="0" ftr="0" dt="0"/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50"/>
            <a:ext cx="11950700" cy="672137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1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itleRectangle"/>
          <p:cNvSpPr>
            <a:spLocks noChangeAspect="1"/>
          </p:cNvSpPr>
          <p:nvPr/>
        </p:nvSpPr>
        <p:spPr bwMode="white">
          <a:xfrm>
            <a:off x="2780082" y="3392"/>
            <a:ext cx="9170618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16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260546" y="36515"/>
            <a:ext cx="39376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gray">
          <a:xfrm>
            <a:off x="8106944" y="6254081"/>
            <a:ext cx="88267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gray">
          <a:xfrm>
            <a:off x="8106944" y="6377192"/>
            <a:ext cx="3843756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>
                <a:solidFill>
                  <a:srgbClr val="808080"/>
                </a:solidFill>
                <a:latin typeface="+mn-lt"/>
              </a:rPr>
              <a:t>Last Modified 2/6/2019 1:33 PM Eastern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gray">
          <a:xfrm>
            <a:off x="8106945" y="6500304"/>
            <a:ext cx="354737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24890" y="1434421"/>
            <a:ext cx="8310356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24890" y="3119079"/>
            <a:ext cx="8310356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890" y="3584143"/>
            <a:ext cx="831035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1" name="LogoImage"/>
          <p:cNvSpPr>
            <a:spLocks noEditPoints="1"/>
          </p:cNvSpPr>
          <p:nvPr/>
        </p:nvSpPr>
        <p:spPr bwMode="auto">
          <a:xfrm>
            <a:off x="3036211" y="192025"/>
            <a:ext cx="2177267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9" name="Disclaimer-template_Blue" hidden="1"/>
          <p:cNvSpPr>
            <a:spLocks noChangeArrowheads="1"/>
          </p:cNvSpPr>
          <p:nvPr/>
        </p:nvSpPr>
        <p:spPr bwMode="black">
          <a:xfrm>
            <a:off x="2781793" y="6254080"/>
            <a:ext cx="5121196" cy="3514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/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421440" y="6508273"/>
            <a:ext cx="125051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273986" y="6508273"/>
            <a:ext cx="101323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240064" y="50802"/>
            <a:ext cx="141129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chemeClr val="accent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421440" y="6508273"/>
            <a:ext cx="125051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273986" y="6508273"/>
            <a:ext cx="101323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240064" y="50802"/>
            <a:ext cx="141129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8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3520641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>
                <a:solidFill>
                  <a:srgbClr val="000000"/>
                </a:solidFill>
                <a:latin typeface="Arial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11258427" y="36514"/>
            <a:ext cx="39377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3520641" y="498475"/>
            <a:ext cx="348172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Last Modified 7/25/2018 10:40 AM Central European Standard Time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3520642" y="655638"/>
            <a:ext cx="2609689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Printed 29 Nov 16 13:31 W. Europe Standard Time</a:t>
            </a:r>
          </a:p>
        </p:txBody>
      </p:sp>
      <p:grpSp>
        <p:nvGrpSpPr>
          <p:cNvPr id="2" name="Title Elements"/>
          <p:cNvGrpSpPr/>
          <p:nvPr userDrawn="1"/>
        </p:nvGrpSpPr>
        <p:grpSpPr>
          <a:xfrm>
            <a:off x="0" y="1"/>
            <a:ext cx="11946467" cy="6723063"/>
            <a:chOff x="0" y="0"/>
            <a:chExt cx="8958264" cy="6723063"/>
          </a:xfrm>
        </p:grpSpPr>
        <p:sp>
          <p:nvSpPr>
            <p:cNvPr id="9" name="Document type" hidden="1"/>
            <p:cNvSpPr txBox="1">
              <a:spLocks noChangeArrowheads="1"/>
            </p:cNvSpPr>
            <p:nvPr/>
          </p:nvSpPr>
          <p:spPr bwMode="auto">
            <a:xfrm>
              <a:off x="2640013" y="4931231"/>
              <a:ext cx="493553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Date" hidden="1"/>
            <p:cNvSpPr txBox="1">
              <a:spLocks noChangeArrowheads="1"/>
            </p:cNvSpPr>
            <p:nvPr/>
          </p:nvSpPr>
          <p:spPr bwMode="auto">
            <a:xfrm>
              <a:off x="2640013" y="5199063"/>
              <a:ext cx="493553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  <p:sp>
          <p:nvSpPr>
            <p:cNvPr id="11" name="Disclaimer" hidden="1"/>
            <p:cNvSpPr>
              <a:spLocks noChangeArrowheads="1"/>
            </p:cNvSpPr>
            <p:nvPr/>
          </p:nvSpPr>
          <p:spPr bwMode="auto">
            <a:xfrm>
              <a:off x="2640013" y="5894230"/>
              <a:ext cx="5121275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952" eaLnBrk="0" hangingPunct="0"/>
              <a:r>
                <a:rPr lang="en-US" sz="800">
                  <a:solidFill>
                    <a:srgbClr val="000000"/>
                  </a:solidFill>
                  <a:latin typeface="Arial"/>
                </a:rPr>
                <a:t>CONFIDENTIAL AND PROPRIETARY</a:t>
              </a:r>
            </a:p>
            <a:p>
              <a:pPr defTabSz="804952" eaLnBrk="0" hangingPunct="0"/>
              <a:r>
                <a:rPr lang="en-US" sz="800">
                  <a:solidFill>
                    <a:srgbClr val="000000"/>
                  </a:solidFill>
                  <a:latin typeface="Arial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2238375"/>
              <a:ext cx="2193925" cy="4484688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2193925" cy="2238375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9" name="Rectangle 18" hidden="1"/>
            <p:cNvSpPr/>
            <p:nvPr/>
          </p:nvSpPr>
          <p:spPr>
            <a:xfrm>
              <a:off x="0" y="0"/>
              <a:ext cx="8958264" cy="6721475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solidFill>
                  <a:srgbClr val="000000"/>
                </a:solidFill>
              </a:endParaRPr>
            </a:p>
          </p:txBody>
        </p:sp>
      </p:grpSp>
      <p:grpSp>
        <p:nvGrpSpPr>
          <p:cNvPr id="15" name="TitleBottomBar"/>
          <p:cNvGrpSpPr>
            <a:grpSpLocks/>
          </p:cNvGrpSpPr>
          <p:nvPr/>
        </p:nvGrpSpPr>
        <p:grpSpPr bwMode="auto">
          <a:xfrm>
            <a:off x="2923635" y="6305550"/>
            <a:ext cx="9024947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>
                <a:solidFill>
                  <a:srgbClr val="000000"/>
                </a:solidFill>
                <a:latin typeface="Arial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6912" y="6443663"/>
            <a:ext cx="2182669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520642" y="2133601"/>
            <a:ext cx="6581881" cy="492441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520642" y="3867150"/>
            <a:ext cx="6581881" cy="215444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2818118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11396036" y="6434982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4" name="SlideLogoSeparator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1227471" y="6403976"/>
            <a:ext cx="53444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449"/>
            <a:r>
              <a:rPr lang="en-US" sz="1200">
                <a:solidFill>
                  <a:srgbClr val="000000"/>
                </a:solidFill>
                <a:latin typeface="Arial"/>
              </a:rPr>
              <a:t>|</a:t>
            </a: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355094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370233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3520641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>
                <a:solidFill>
                  <a:srgbClr val="000000"/>
                </a:solidFill>
                <a:latin typeface="Arial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11258427" y="36514"/>
            <a:ext cx="39377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3520641" y="498475"/>
            <a:ext cx="348172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Last Modified 7/25/2018 10:40 AM Central European Standard Time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3520642" y="655638"/>
            <a:ext cx="2609689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Arial"/>
              </a:rPr>
              <a:t>Printed 29 Nov 16 13:31 W. Europe Standard Time</a:t>
            </a:r>
          </a:p>
        </p:txBody>
      </p:sp>
      <p:grpSp>
        <p:nvGrpSpPr>
          <p:cNvPr id="2" name="Title Elements"/>
          <p:cNvGrpSpPr/>
          <p:nvPr userDrawn="1"/>
        </p:nvGrpSpPr>
        <p:grpSpPr>
          <a:xfrm>
            <a:off x="0" y="1"/>
            <a:ext cx="11946467" cy="6723063"/>
            <a:chOff x="0" y="0"/>
            <a:chExt cx="8958264" cy="6723063"/>
          </a:xfrm>
        </p:grpSpPr>
        <p:sp>
          <p:nvSpPr>
            <p:cNvPr id="9" name="Document type" hidden="1"/>
            <p:cNvSpPr txBox="1">
              <a:spLocks noChangeArrowheads="1"/>
            </p:cNvSpPr>
            <p:nvPr/>
          </p:nvSpPr>
          <p:spPr bwMode="auto">
            <a:xfrm>
              <a:off x="2640013" y="4931231"/>
              <a:ext cx="493553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Date" hidden="1"/>
            <p:cNvSpPr txBox="1">
              <a:spLocks noChangeArrowheads="1"/>
            </p:cNvSpPr>
            <p:nvPr/>
          </p:nvSpPr>
          <p:spPr bwMode="auto">
            <a:xfrm>
              <a:off x="2640013" y="5199063"/>
              <a:ext cx="493553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  <p:sp>
          <p:nvSpPr>
            <p:cNvPr id="11" name="Disclaimer" hidden="1"/>
            <p:cNvSpPr>
              <a:spLocks noChangeArrowheads="1"/>
            </p:cNvSpPr>
            <p:nvPr/>
          </p:nvSpPr>
          <p:spPr bwMode="auto">
            <a:xfrm>
              <a:off x="2640013" y="5894230"/>
              <a:ext cx="5121275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952" eaLnBrk="0" hangingPunct="0"/>
              <a:r>
                <a:rPr lang="en-US" sz="800">
                  <a:solidFill>
                    <a:srgbClr val="000000"/>
                  </a:solidFill>
                  <a:latin typeface="Arial"/>
                </a:rPr>
                <a:t>CONFIDENTIAL AND PROPRIETARY</a:t>
              </a:r>
            </a:p>
            <a:p>
              <a:pPr defTabSz="804952" eaLnBrk="0" hangingPunct="0"/>
              <a:r>
                <a:rPr lang="en-US" sz="800">
                  <a:solidFill>
                    <a:srgbClr val="000000"/>
                  </a:solidFill>
                  <a:latin typeface="Arial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2238375"/>
              <a:ext cx="2193925" cy="4484688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2193925" cy="2238375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9" name="Rectangle 18" hidden="1"/>
            <p:cNvSpPr/>
            <p:nvPr/>
          </p:nvSpPr>
          <p:spPr>
            <a:xfrm>
              <a:off x="0" y="0"/>
              <a:ext cx="8958264" cy="6721475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solidFill>
                  <a:srgbClr val="000000"/>
                </a:solidFill>
              </a:endParaRPr>
            </a:p>
          </p:txBody>
        </p:sp>
      </p:grpSp>
      <p:grpSp>
        <p:nvGrpSpPr>
          <p:cNvPr id="15" name="TitleBottomBar"/>
          <p:cNvGrpSpPr>
            <a:grpSpLocks/>
          </p:cNvGrpSpPr>
          <p:nvPr/>
        </p:nvGrpSpPr>
        <p:grpSpPr bwMode="auto">
          <a:xfrm>
            <a:off x="2923635" y="6305550"/>
            <a:ext cx="9024947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>
                <a:solidFill>
                  <a:srgbClr val="000000"/>
                </a:solidFill>
                <a:latin typeface="Arial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6912" y="6443663"/>
            <a:ext cx="2182669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520642" y="2133601"/>
            <a:ext cx="6581881" cy="492441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520642" y="3867150"/>
            <a:ext cx="6581881" cy="215444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833439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11396036" y="6434982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4" name="SlideLogoSeparator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1227471" y="6403976"/>
            <a:ext cx="53444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449"/>
            <a:r>
              <a:rPr lang="en-US" sz="1200">
                <a:solidFill>
                  <a:srgbClr val="000000"/>
                </a:solidFill>
                <a:latin typeface="Arial"/>
              </a:rPr>
              <a:t>|</a:t>
            </a: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177505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353499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"/>
            <a:ext cx="11950791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/>
        </p:nvSpPr>
        <p:spPr bwMode="white">
          <a:xfrm>
            <a:off x="2780082" y="-1"/>
            <a:ext cx="9170618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16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5202814"/>
              </p:ext>
            </p:extLst>
          </p:nvPr>
        </p:nvGraphicFramePr>
        <p:xfrm>
          <a:off x="2118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366405" y="36515"/>
            <a:ext cx="39376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black">
          <a:xfrm>
            <a:off x="8106944" y="6254081"/>
            <a:ext cx="88267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black">
          <a:xfrm>
            <a:off x="8106944" y="6377192"/>
            <a:ext cx="3740265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2/6/2019 1:33 PM Eastern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black">
          <a:xfrm>
            <a:off x="8106945" y="6500304"/>
            <a:ext cx="354737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24890" y="1434421"/>
            <a:ext cx="8310356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24890" y="3119079"/>
            <a:ext cx="8310356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890" y="3584143"/>
            <a:ext cx="831035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5" name="LogoImage"/>
          <p:cNvSpPr>
            <a:spLocks noEditPoints="1"/>
          </p:cNvSpPr>
          <p:nvPr/>
        </p:nvSpPr>
        <p:spPr bwMode="auto">
          <a:xfrm>
            <a:off x="3033779" y="187976"/>
            <a:ext cx="2177267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781793" y="6254081"/>
            <a:ext cx="512119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/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158781" y="230189"/>
            <a:ext cx="10115205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421440" y="6508273"/>
            <a:ext cx="125051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0273986" y="6508273"/>
            <a:ext cx="101323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447062" y="50803"/>
            <a:ext cx="12071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Isosceles Triangle 16">
            <a:extLst>
              <a:ext uri="{FF2B5EF4-FFF2-40B4-BE49-F238E27FC236}">
                <a16:creationId xmlns:a16="http://schemas.microsoft.com/office/drawing/2014/main" xmlns="" id="{E2C70A52-20E0-44EE-80F1-358CF5856D90}"/>
              </a:ext>
            </a:extLst>
          </p:cNvPr>
          <p:cNvSpPr/>
          <p:nvPr/>
        </p:nvSpPr>
        <p:spPr>
          <a:xfrm flipV="1">
            <a:off x="10243790" y="-13134"/>
            <a:ext cx="1701836" cy="1240116"/>
          </a:xfrm>
          <a:prstGeom prst="triangle">
            <a:avLst>
              <a:gd name="adj" fmla="val 100000"/>
            </a:avLst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16" dirty="0" err="1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467561" y="-495300"/>
            <a:ext cx="184756" cy="3871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916" dirty="0"/>
          </a:p>
        </p:txBody>
      </p:sp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989284567"/>
              </p:ext>
            </p:extLst>
          </p:nvPr>
        </p:nvGraphicFramePr>
        <p:xfrm>
          <a:off x="443" y="353"/>
          <a:ext cx="443" cy="3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69" name="think-cell Slide" r:id="rId5" imgW="359" imgH="358" progId="TCLayout.ActiveDocument.1">
                  <p:embed/>
                </p:oleObj>
              </mc:Choice>
              <mc:Fallback>
                <p:oleObj name="think-cell Slide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443" y="353"/>
                        <a:ext cx="443" cy="35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tags" Target="../tags/tag7.xml"/><Relationship Id="rId20" Type="http://schemas.openxmlformats.org/officeDocument/2006/relationships/oleObject" Target="../embeddings/oleObject1.bin"/><Relationship Id="rId21" Type="http://schemas.openxmlformats.org/officeDocument/2006/relationships/image" Target="../media/image1.emf"/><Relationship Id="rId10" Type="http://schemas.openxmlformats.org/officeDocument/2006/relationships/tags" Target="../tags/tag8.xml"/><Relationship Id="rId11" Type="http://schemas.openxmlformats.org/officeDocument/2006/relationships/tags" Target="../tags/tag9.xml"/><Relationship Id="rId12" Type="http://schemas.openxmlformats.org/officeDocument/2006/relationships/tags" Target="../tags/tag10.xml"/><Relationship Id="rId13" Type="http://schemas.openxmlformats.org/officeDocument/2006/relationships/tags" Target="../tags/tag11.xml"/><Relationship Id="rId14" Type="http://schemas.openxmlformats.org/officeDocument/2006/relationships/tags" Target="../tags/tag12.xml"/><Relationship Id="rId15" Type="http://schemas.openxmlformats.org/officeDocument/2006/relationships/tags" Target="../tags/tag13.xml"/><Relationship Id="rId16" Type="http://schemas.openxmlformats.org/officeDocument/2006/relationships/tags" Target="../tags/tag14.xml"/><Relationship Id="rId17" Type="http://schemas.openxmlformats.org/officeDocument/2006/relationships/tags" Target="../tags/tag15.xml"/><Relationship Id="rId18" Type="http://schemas.openxmlformats.org/officeDocument/2006/relationships/tags" Target="../tags/tag16.xml"/><Relationship Id="rId19" Type="http://schemas.openxmlformats.org/officeDocument/2006/relationships/tags" Target="../tags/tag17.xml"/><Relationship Id="rId1" Type="http://schemas.openxmlformats.org/officeDocument/2006/relationships/slideLayout" Target="../slideLayouts/slideLayout1.xml"/><Relationship Id="rId2" Type="http://schemas.openxmlformats.org/officeDocument/2006/relationships/theme" Target="../theme/theme1.xml"/><Relationship Id="rId3" Type="http://schemas.openxmlformats.org/officeDocument/2006/relationships/vmlDrawing" Target="../drawings/vmlDrawing1.vml"/><Relationship Id="rId4" Type="http://schemas.openxmlformats.org/officeDocument/2006/relationships/tags" Target="../tags/tag2.xml"/><Relationship Id="rId5" Type="http://schemas.openxmlformats.org/officeDocument/2006/relationships/tags" Target="../tags/tag3.xml"/><Relationship Id="rId6" Type="http://schemas.openxmlformats.org/officeDocument/2006/relationships/tags" Target="../tags/tag4.xml"/><Relationship Id="rId7" Type="http://schemas.openxmlformats.org/officeDocument/2006/relationships/tags" Target="../tags/tag5.xml"/><Relationship Id="rId8" Type="http://schemas.openxmlformats.org/officeDocument/2006/relationships/tags" Target="../tags/tag6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4" Type="http://schemas.openxmlformats.org/officeDocument/2006/relationships/theme" Target="../theme/theme2.xml"/><Relationship Id="rId5" Type="http://schemas.openxmlformats.org/officeDocument/2006/relationships/vmlDrawing" Target="../drawings/vmlDrawing3.vml"/><Relationship Id="rId6" Type="http://schemas.openxmlformats.org/officeDocument/2006/relationships/tags" Target="../tags/tag19.xml"/><Relationship Id="rId7" Type="http://schemas.openxmlformats.org/officeDocument/2006/relationships/tags" Target="../tags/tag20.xml"/><Relationship Id="rId8" Type="http://schemas.openxmlformats.org/officeDocument/2006/relationships/oleObject" Target="../embeddings/oleObject3.bin"/><Relationship Id="rId9" Type="http://schemas.openxmlformats.org/officeDocument/2006/relationships/image" Target="../media/image1.emf"/><Relationship Id="rId1" Type="http://schemas.openxmlformats.org/officeDocument/2006/relationships/slideLayout" Target="../slideLayouts/slideLayout2.xml"/><Relationship Id="rId2" Type="http://schemas.openxmlformats.org/officeDocument/2006/relationships/slideLayout" Target="../slideLayouts/slideLayout3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4" Type="http://schemas.openxmlformats.org/officeDocument/2006/relationships/theme" Target="../theme/theme3.xml"/><Relationship Id="rId5" Type="http://schemas.openxmlformats.org/officeDocument/2006/relationships/vmlDrawing" Target="../drawings/vmlDrawing5.vml"/><Relationship Id="rId6" Type="http://schemas.openxmlformats.org/officeDocument/2006/relationships/tags" Target="../tags/tag24.xml"/><Relationship Id="rId7" Type="http://schemas.openxmlformats.org/officeDocument/2006/relationships/tags" Target="../tags/tag25.xml"/><Relationship Id="rId8" Type="http://schemas.openxmlformats.org/officeDocument/2006/relationships/oleObject" Target="../embeddings/oleObject5.bin"/><Relationship Id="rId9" Type="http://schemas.openxmlformats.org/officeDocument/2006/relationships/image" Target="../media/image1.emf"/><Relationship Id="rId1" Type="http://schemas.openxmlformats.org/officeDocument/2006/relationships/slideLayout" Target="../slideLayouts/slideLayout5.xml"/><Relationship Id="rId2" Type="http://schemas.openxmlformats.org/officeDocument/2006/relationships/slideLayout" Target="../slideLayouts/slideLayout6.xml"/></Relationships>
</file>

<file path=ppt/slideMasters/_rels/slideMaster4.xml.rels><?xml version="1.0" encoding="UTF-8" standalone="yes"?>
<Relationships xmlns="http://schemas.openxmlformats.org/package/2006/relationships"><Relationship Id="rId9" Type="http://schemas.openxmlformats.org/officeDocument/2006/relationships/tags" Target="../tags/tag32.xml"/><Relationship Id="rId20" Type="http://schemas.openxmlformats.org/officeDocument/2006/relationships/tags" Target="../tags/tag43.xml"/><Relationship Id="rId21" Type="http://schemas.openxmlformats.org/officeDocument/2006/relationships/tags" Target="../tags/tag44.xml"/><Relationship Id="rId22" Type="http://schemas.openxmlformats.org/officeDocument/2006/relationships/tags" Target="../tags/tag45.xml"/><Relationship Id="rId23" Type="http://schemas.openxmlformats.org/officeDocument/2006/relationships/oleObject" Target="../embeddings/oleObject7.bin"/><Relationship Id="rId24" Type="http://schemas.openxmlformats.org/officeDocument/2006/relationships/image" Target="../media/image1.emf"/><Relationship Id="rId10" Type="http://schemas.openxmlformats.org/officeDocument/2006/relationships/tags" Target="../tags/tag33.xml"/><Relationship Id="rId11" Type="http://schemas.openxmlformats.org/officeDocument/2006/relationships/tags" Target="../tags/tag34.xml"/><Relationship Id="rId12" Type="http://schemas.openxmlformats.org/officeDocument/2006/relationships/tags" Target="../tags/tag35.xml"/><Relationship Id="rId13" Type="http://schemas.openxmlformats.org/officeDocument/2006/relationships/tags" Target="../tags/tag36.xml"/><Relationship Id="rId14" Type="http://schemas.openxmlformats.org/officeDocument/2006/relationships/tags" Target="../tags/tag37.xml"/><Relationship Id="rId15" Type="http://schemas.openxmlformats.org/officeDocument/2006/relationships/tags" Target="../tags/tag38.xml"/><Relationship Id="rId16" Type="http://schemas.openxmlformats.org/officeDocument/2006/relationships/tags" Target="../tags/tag39.xml"/><Relationship Id="rId17" Type="http://schemas.openxmlformats.org/officeDocument/2006/relationships/tags" Target="../tags/tag40.xml"/><Relationship Id="rId18" Type="http://schemas.openxmlformats.org/officeDocument/2006/relationships/tags" Target="../tags/tag41.xml"/><Relationship Id="rId19" Type="http://schemas.openxmlformats.org/officeDocument/2006/relationships/tags" Target="../tags/tag42.xml"/><Relationship Id="rId1" Type="http://schemas.openxmlformats.org/officeDocument/2006/relationships/slideLayout" Target="../slideLayouts/slideLayout8.xml"/><Relationship Id="rId2" Type="http://schemas.openxmlformats.org/officeDocument/2006/relationships/slideLayout" Target="../slideLayouts/slideLayout9.xml"/><Relationship Id="rId3" Type="http://schemas.openxmlformats.org/officeDocument/2006/relationships/slideLayout" Target="../slideLayouts/slideLayout10.xml"/><Relationship Id="rId4" Type="http://schemas.openxmlformats.org/officeDocument/2006/relationships/theme" Target="../theme/theme4.xml"/><Relationship Id="rId5" Type="http://schemas.openxmlformats.org/officeDocument/2006/relationships/vmlDrawing" Target="../drawings/vmlDrawing7.vml"/><Relationship Id="rId6" Type="http://schemas.openxmlformats.org/officeDocument/2006/relationships/tags" Target="../tags/tag29.xml"/><Relationship Id="rId7" Type="http://schemas.openxmlformats.org/officeDocument/2006/relationships/tags" Target="../tags/tag30.xml"/><Relationship Id="rId8" Type="http://schemas.openxmlformats.org/officeDocument/2006/relationships/tags" Target="../tags/tag31.xml"/></Relationships>
</file>

<file path=ppt/slideMasters/_rels/slideMaster5.xml.rels><?xml version="1.0" encoding="UTF-8" standalone="yes"?>
<Relationships xmlns="http://schemas.openxmlformats.org/package/2006/relationships"><Relationship Id="rId20" Type="http://schemas.openxmlformats.org/officeDocument/2006/relationships/tags" Target="../tags/tag64.xml"/><Relationship Id="rId21" Type="http://schemas.openxmlformats.org/officeDocument/2006/relationships/tags" Target="../tags/tag65.xml"/><Relationship Id="rId22" Type="http://schemas.openxmlformats.org/officeDocument/2006/relationships/tags" Target="../tags/tag66.xml"/><Relationship Id="rId23" Type="http://schemas.openxmlformats.org/officeDocument/2006/relationships/tags" Target="../tags/tag67.xml"/><Relationship Id="rId24" Type="http://schemas.openxmlformats.org/officeDocument/2006/relationships/tags" Target="../tags/tag68.xml"/><Relationship Id="rId25" Type="http://schemas.openxmlformats.org/officeDocument/2006/relationships/tags" Target="../tags/tag69.xml"/><Relationship Id="rId26" Type="http://schemas.openxmlformats.org/officeDocument/2006/relationships/tags" Target="../tags/tag70.xml"/><Relationship Id="rId27" Type="http://schemas.openxmlformats.org/officeDocument/2006/relationships/tags" Target="../tags/tag71.xml"/><Relationship Id="rId28" Type="http://schemas.openxmlformats.org/officeDocument/2006/relationships/tags" Target="../tags/tag72.xml"/><Relationship Id="rId29" Type="http://schemas.openxmlformats.org/officeDocument/2006/relationships/tags" Target="../tags/tag73.xml"/><Relationship Id="rId1" Type="http://schemas.openxmlformats.org/officeDocument/2006/relationships/slideLayout" Target="../slideLayouts/slideLayout11.xml"/><Relationship Id="rId2" Type="http://schemas.openxmlformats.org/officeDocument/2006/relationships/slideLayout" Target="../slideLayouts/slideLayout12.xml"/><Relationship Id="rId3" Type="http://schemas.openxmlformats.org/officeDocument/2006/relationships/slideLayout" Target="../slideLayouts/slideLayout13.xml"/><Relationship Id="rId4" Type="http://schemas.openxmlformats.org/officeDocument/2006/relationships/theme" Target="../theme/theme5.xml"/><Relationship Id="rId5" Type="http://schemas.openxmlformats.org/officeDocument/2006/relationships/vmlDrawing" Target="../drawings/vmlDrawing10.vml"/><Relationship Id="rId30" Type="http://schemas.openxmlformats.org/officeDocument/2006/relationships/tags" Target="../tags/tag74.xml"/><Relationship Id="rId31" Type="http://schemas.openxmlformats.org/officeDocument/2006/relationships/tags" Target="../tags/tag75.xml"/><Relationship Id="rId32" Type="http://schemas.openxmlformats.org/officeDocument/2006/relationships/tags" Target="../tags/tag76.xml"/><Relationship Id="rId9" Type="http://schemas.openxmlformats.org/officeDocument/2006/relationships/tags" Target="../tags/tag53.xml"/><Relationship Id="rId6" Type="http://schemas.openxmlformats.org/officeDocument/2006/relationships/tags" Target="../tags/tag50.xml"/><Relationship Id="rId7" Type="http://schemas.openxmlformats.org/officeDocument/2006/relationships/tags" Target="../tags/tag51.xml"/><Relationship Id="rId8" Type="http://schemas.openxmlformats.org/officeDocument/2006/relationships/tags" Target="../tags/tag52.xml"/><Relationship Id="rId33" Type="http://schemas.openxmlformats.org/officeDocument/2006/relationships/tags" Target="../tags/tag77.xml"/><Relationship Id="rId34" Type="http://schemas.openxmlformats.org/officeDocument/2006/relationships/tags" Target="../tags/tag78.xml"/><Relationship Id="rId35" Type="http://schemas.openxmlformats.org/officeDocument/2006/relationships/tags" Target="../tags/tag79.xml"/><Relationship Id="rId36" Type="http://schemas.openxmlformats.org/officeDocument/2006/relationships/tags" Target="../tags/tag80.xml"/><Relationship Id="rId10" Type="http://schemas.openxmlformats.org/officeDocument/2006/relationships/tags" Target="../tags/tag54.xml"/><Relationship Id="rId11" Type="http://schemas.openxmlformats.org/officeDocument/2006/relationships/tags" Target="../tags/tag55.xml"/><Relationship Id="rId12" Type="http://schemas.openxmlformats.org/officeDocument/2006/relationships/tags" Target="../tags/tag56.xml"/><Relationship Id="rId13" Type="http://schemas.openxmlformats.org/officeDocument/2006/relationships/tags" Target="../tags/tag57.xml"/><Relationship Id="rId14" Type="http://schemas.openxmlformats.org/officeDocument/2006/relationships/tags" Target="../tags/tag58.xml"/><Relationship Id="rId15" Type="http://schemas.openxmlformats.org/officeDocument/2006/relationships/tags" Target="../tags/tag59.xml"/><Relationship Id="rId16" Type="http://schemas.openxmlformats.org/officeDocument/2006/relationships/tags" Target="../tags/tag60.xml"/><Relationship Id="rId17" Type="http://schemas.openxmlformats.org/officeDocument/2006/relationships/tags" Target="../tags/tag61.xml"/><Relationship Id="rId18" Type="http://schemas.openxmlformats.org/officeDocument/2006/relationships/tags" Target="../tags/tag62.xml"/><Relationship Id="rId19" Type="http://schemas.openxmlformats.org/officeDocument/2006/relationships/tags" Target="../tags/tag63.xml"/><Relationship Id="rId37" Type="http://schemas.openxmlformats.org/officeDocument/2006/relationships/tags" Target="../tags/tag81.xml"/><Relationship Id="rId38" Type="http://schemas.openxmlformats.org/officeDocument/2006/relationships/oleObject" Target="../embeddings/oleObject10.bin"/><Relationship Id="rId3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813522949"/>
              </p:ext>
            </p:extLst>
          </p:nvPr>
        </p:nvGraphicFramePr>
        <p:xfrm>
          <a:off x="0" y="0"/>
          <a:ext cx="21170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00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70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1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82405" y="169852"/>
            <a:ext cx="11403665" cy="3415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de-DE" noProof="0" dirty="0"/>
          </a:p>
        </p:txBody>
      </p:sp>
      <p:sp>
        <p:nvSpPr>
          <p:cNvPr id="24" name="Rectangle 286"/>
          <p:cNvSpPr>
            <a:spLocks noGrp="1" noChangeArrowheads="1"/>
          </p:cNvSpPr>
          <p:nvPr>
            <p:ph type="body" idx="1"/>
          </p:nvPr>
        </p:nvSpPr>
        <p:spPr bwMode="gray">
          <a:xfrm>
            <a:off x="282405" y="1223737"/>
            <a:ext cx="11403665" cy="6831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DE" noProof="0" dirty="0"/>
          </a:p>
        </p:txBody>
      </p:sp>
      <p:sp>
        <p:nvSpPr>
          <p:cNvPr id="26" name="1. On-page tracker" hidden="1"/>
          <p:cNvSpPr>
            <a:spLocks noChangeArrowheads="1"/>
          </p:cNvSpPr>
          <p:nvPr/>
        </p:nvSpPr>
        <p:spPr bwMode="gray">
          <a:xfrm>
            <a:off x="282405" y="8665"/>
            <a:ext cx="678071" cy="1708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>
              <a:tabLst>
                <a:tab pos="437712" algn="l"/>
              </a:tabLst>
            </a:pPr>
            <a:r>
              <a:rPr lang="de-DE" sz="1110" cap="all" baseline="0" noProof="0" dirty="0">
                <a:solidFill>
                  <a:schemeClr val="accent6"/>
                </a:solidFill>
                <a:latin typeface="+mn-lt"/>
              </a:rPr>
              <a:t>TRACKER</a:t>
            </a:r>
            <a:endParaRPr lang="en-US" sz="1110" cap="all" baseline="0" noProof="0" dirty="0">
              <a:solidFill>
                <a:schemeClr val="accent6"/>
              </a:solidFill>
              <a:latin typeface="+mn-lt"/>
              <a:ea typeface="+mj-ea"/>
            </a:endParaRPr>
          </a:p>
        </p:txBody>
      </p:sp>
      <p:grpSp>
        <p:nvGrpSpPr>
          <p:cNvPr id="27" name="Slide Elements" hidden="1"/>
          <p:cNvGrpSpPr>
            <a:grpSpLocks/>
          </p:cNvGrpSpPr>
          <p:nvPr/>
        </p:nvGrpSpPr>
        <p:grpSpPr bwMode="gray">
          <a:xfrm>
            <a:off x="282405" y="6416746"/>
            <a:ext cx="11403665" cy="195263"/>
            <a:chOff x="75" y="4028"/>
            <a:chExt cx="5429" cy="123"/>
          </a:xfrm>
        </p:grpSpPr>
        <p:sp>
          <p:nvSpPr>
            <p:cNvPr id="28" name="Slide Elements"/>
            <p:cNvSpPr txBox="1">
              <a:spLocks noChangeArrowheads="1"/>
            </p:cNvSpPr>
            <p:nvPr/>
          </p:nvSpPr>
          <p:spPr bwMode="gray">
            <a:xfrm>
              <a:off x="75" y="4028"/>
              <a:ext cx="5429" cy="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59912" indent="-59912">
                <a:defRPr/>
              </a:pPr>
              <a:r>
                <a:rPr lang="de-DE" sz="622" baseline="0" noProof="0" dirty="0">
                  <a:latin typeface="+mn-lt"/>
                </a:rPr>
                <a:t>1</a:t>
              </a:r>
              <a:r>
                <a:rPr lang="en-US" sz="622" baseline="0" noProof="0" dirty="0">
                  <a:latin typeface="+mn-lt"/>
                </a:rPr>
                <a:t>	</a:t>
              </a:r>
              <a:r>
                <a:rPr lang="de-DE" sz="622" baseline="0" noProof="0" dirty="0">
                  <a:latin typeface="+mn-lt"/>
                </a:rPr>
                <a:t>Footnote</a:t>
              </a:r>
            </a:p>
          </p:txBody>
        </p:sp>
        <p:sp>
          <p:nvSpPr>
            <p:cNvPr id="29" name="Slide Elements"/>
            <p:cNvSpPr>
              <a:spLocks noChangeArrowheads="1"/>
            </p:cNvSpPr>
            <p:nvPr/>
          </p:nvSpPr>
          <p:spPr bwMode="gray">
            <a:xfrm>
              <a:off x="75" y="4091"/>
              <a:ext cx="5211" cy="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278768" indent="-278768" defTabSz="926317">
                <a:tabLst/>
              </a:pPr>
              <a:r>
                <a:rPr lang="de-DE" sz="622" baseline="0" noProof="0" dirty="0">
                  <a:solidFill>
                    <a:srgbClr val="000000"/>
                  </a:solidFill>
                  <a:latin typeface="+mn-lt"/>
                </a:rPr>
                <a:t>Source:</a:t>
              </a:r>
              <a:r>
                <a:rPr lang="en-US" sz="622" baseline="0" noProof="0" dirty="0">
                  <a:solidFill>
                    <a:srgbClr val="000000"/>
                  </a:solidFill>
                  <a:latin typeface="+mn-lt"/>
                </a:rPr>
                <a:t>	</a:t>
              </a:r>
              <a:r>
                <a:rPr lang="de-DE" sz="622" baseline="0" noProof="0" dirty="0">
                  <a:solidFill>
                    <a:srgbClr val="000000"/>
                  </a:solidFill>
                  <a:latin typeface="+mn-lt"/>
                </a:rPr>
                <a:t>Source</a:t>
              </a:r>
              <a:endParaRPr lang="en-US" sz="622" baseline="0" noProof="0" dirty="0">
                <a:solidFill>
                  <a:srgbClr val="000000"/>
                </a:solidFill>
                <a:latin typeface="+mn-lt"/>
              </a:endParaRPr>
            </a:p>
          </p:txBody>
        </p:sp>
      </p:grpSp>
      <p:grpSp>
        <p:nvGrpSpPr>
          <p:cNvPr id="30" name="ACET" hidden="1"/>
          <p:cNvGrpSpPr>
            <a:grpSpLocks/>
          </p:cNvGrpSpPr>
          <p:nvPr/>
        </p:nvGrpSpPr>
        <p:grpSpPr bwMode="gray">
          <a:xfrm>
            <a:off x="282405" y="1209450"/>
            <a:ext cx="5686374" cy="319085"/>
            <a:chOff x="915" y="829"/>
            <a:chExt cx="2686" cy="201"/>
          </a:xfrm>
        </p:grpSpPr>
        <p:cxnSp>
          <p:nvCxnSpPr>
            <p:cNvPr id="31" name="AutoShape 249"/>
            <p:cNvCxnSpPr>
              <a:cxnSpLocks noChangeShapeType="1"/>
              <a:stCxn id="32" idx="4"/>
              <a:endCxn id="32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2" name="AutoShape 250"/>
            <p:cNvSpPr>
              <a:spLocks noChangeArrowheads="1"/>
            </p:cNvSpPr>
            <p:nvPr/>
          </p:nvSpPr>
          <p:spPr bwMode="gray">
            <a:xfrm>
              <a:off x="915" y="829"/>
              <a:ext cx="2686" cy="20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de-DE" sz="1066" b="1" baseline="0" noProof="0" dirty="0">
                  <a:latin typeface="+mn-lt"/>
                </a:rPr>
                <a:t>Title</a:t>
              </a:r>
            </a:p>
            <a:p>
              <a:r>
                <a:rPr lang="de-DE" sz="888" baseline="0" noProof="0" dirty="0">
                  <a:solidFill>
                    <a:schemeClr val="accent6"/>
                  </a:solidFill>
                  <a:latin typeface="+mn-lt"/>
                </a:rPr>
                <a:t>Unit of measure</a:t>
              </a:r>
              <a:endParaRPr lang="en-US" sz="888" baseline="0" noProof="0" dirty="0">
                <a:solidFill>
                  <a:schemeClr val="accent6"/>
                </a:solidFill>
                <a:latin typeface="+mn-lt"/>
                <a:ea typeface="+mn-ea"/>
              </a:endParaRPr>
            </a:p>
          </p:txBody>
        </p:sp>
      </p:grpSp>
      <p:sp>
        <p:nvSpPr>
          <p:cNvPr id="34" name="pg number"/>
          <p:cNvSpPr>
            <a:spLocks/>
          </p:cNvSpPr>
          <p:nvPr/>
        </p:nvSpPr>
        <p:spPr bwMode="gray">
          <a:xfrm>
            <a:off x="11586683" y="6516308"/>
            <a:ext cx="99387" cy="9573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lvl="0" algn="r"/>
            <a:fld id="{42C328C1-A84F-4A39-A664-DBA00541A8C6}" type="slidenum">
              <a:rPr lang="de-DE" sz="622" noProof="0" smtClean="0">
                <a:latin typeface="+mn-lt"/>
              </a:rPr>
              <a:pPr/>
              <a:t>‹#›</a:t>
            </a:fld>
            <a:endParaRPr lang="en-US" sz="622" baseline="0" noProof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36" name="3. Unit of measure" hidden="1"/>
          <p:cNvSpPr txBox="1">
            <a:spLocks noChangeArrowheads="1"/>
          </p:cNvSpPr>
          <p:nvPr/>
        </p:nvSpPr>
        <p:spPr bwMode="gray">
          <a:xfrm>
            <a:off x="282405" y="533421"/>
            <a:ext cx="11403665" cy="2049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tabLst>
                <a:tab pos="437712" algn="l"/>
              </a:tabLst>
              <a:defRPr/>
            </a:pPr>
            <a:r>
              <a:rPr lang="de-DE" sz="1332" baseline="0" noProof="0" dirty="0">
                <a:solidFill>
                  <a:schemeClr val="accent6"/>
                </a:solidFill>
                <a:latin typeface="+mn-lt"/>
              </a:rPr>
              <a:t>Unit of measure</a:t>
            </a:r>
            <a:endParaRPr lang="en-US" sz="1332" baseline="0" noProof="0" dirty="0">
              <a:solidFill>
                <a:schemeClr val="accent6"/>
              </a:solidFill>
              <a:latin typeface="+mn-lt"/>
            </a:endParaRPr>
          </a:p>
        </p:txBody>
      </p:sp>
      <p:grpSp>
        <p:nvGrpSpPr>
          <p:cNvPr id="19" name="LegendBoxes" hidden="1"/>
          <p:cNvGrpSpPr>
            <a:grpSpLocks/>
          </p:cNvGrpSpPr>
          <p:nvPr/>
        </p:nvGrpSpPr>
        <p:grpSpPr bwMode="gray">
          <a:xfrm>
            <a:off x="11255958" y="533421"/>
            <a:ext cx="332363" cy="302225"/>
            <a:chOff x="4936" y="176"/>
            <a:chExt cx="578" cy="661"/>
          </a:xfrm>
        </p:grpSpPr>
        <p:sp>
          <p:nvSpPr>
            <p:cNvPr id="20" name="Legend1"/>
            <p:cNvSpPr>
              <a:spLocks noChangeArrowheads="1"/>
            </p:cNvSpPr>
            <p:nvPr/>
          </p:nvSpPr>
          <p:spPr bwMode="gray">
            <a:xfrm>
              <a:off x="5096" y="176"/>
              <a:ext cx="418" cy="14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98768">
                <a:buClr>
                  <a:schemeClr val="tx2"/>
                </a:buClr>
              </a:pPr>
              <a:r>
                <a:rPr lang="de-DE" sz="444" noProof="0" dirty="0">
                  <a:latin typeface="+mn-lt"/>
                </a:rPr>
                <a:t>Legend 1</a:t>
              </a:r>
              <a:endParaRPr lang="en-US" sz="444" noProof="0" dirty="0">
                <a:latin typeface="+mn-lt"/>
              </a:endParaRPr>
            </a:p>
          </p:txBody>
        </p:sp>
        <p:sp>
          <p:nvSpPr>
            <p:cNvPr id="21" name="LegendRectangle1"/>
            <p:cNvSpPr>
              <a:spLocks noChangeArrowheads="1"/>
            </p:cNvSpPr>
            <p:nvPr/>
          </p:nvSpPr>
          <p:spPr bwMode="gray">
            <a:xfrm>
              <a:off x="4936" y="199"/>
              <a:ext cx="104" cy="104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 sz="444" noProof="0">
                <a:latin typeface="+mn-lt"/>
              </a:endParaRPr>
            </a:p>
          </p:txBody>
        </p:sp>
        <p:sp>
          <p:nvSpPr>
            <p:cNvPr id="38" name="Legend2"/>
            <p:cNvSpPr>
              <a:spLocks noChangeArrowheads="1"/>
            </p:cNvSpPr>
            <p:nvPr/>
          </p:nvSpPr>
          <p:spPr bwMode="gray">
            <a:xfrm>
              <a:off x="5096" y="346"/>
              <a:ext cx="418" cy="14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98768">
                <a:buClr>
                  <a:schemeClr val="tx2"/>
                </a:buClr>
              </a:pPr>
              <a:r>
                <a:rPr lang="de-DE" sz="444" noProof="0">
                  <a:latin typeface="+mn-lt"/>
                </a:rPr>
                <a:t>Legend 2</a:t>
              </a:r>
              <a:endParaRPr lang="en-US" sz="444" noProof="0">
                <a:latin typeface="+mn-lt"/>
              </a:endParaRPr>
            </a:p>
          </p:txBody>
        </p:sp>
        <p:sp>
          <p:nvSpPr>
            <p:cNvPr id="39" name="LegendRectangle2"/>
            <p:cNvSpPr>
              <a:spLocks noChangeArrowheads="1"/>
            </p:cNvSpPr>
            <p:nvPr/>
          </p:nvSpPr>
          <p:spPr bwMode="gray">
            <a:xfrm>
              <a:off x="4936" y="369"/>
              <a:ext cx="104" cy="104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 sz="444" noProof="0">
                <a:latin typeface="+mn-lt"/>
              </a:endParaRP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gray">
            <a:xfrm>
              <a:off x="5096" y="517"/>
              <a:ext cx="418" cy="14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98768">
                <a:buClr>
                  <a:schemeClr val="tx2"/>
                </a:buClr>
              </a:pPr>
              <a:r>
                <a:rPr lang="de-DE" sz="444" noProof="0" dirty="0">
                  <a:latin typeface="+mn-lt"/>
                </a:rPr>
                <a:t>Legend 3</a:t>
              </a:r>
              <a:endParaRPr lang="en-US" sz="444" noProof="0" dirty="0">
                <a:latin typeface="+mn-lt"/>
              </a:endParaRPr>
            </a:p>
          </p:txBody>
        </p:sp>
        <p:sp>
          <p:nvSpPr>
            <p:cNvPr id="41" name="LegendRectangle3"/>
            <p:cNvSpPr>
              <a:spLocks noChangeArrowheads="1"/>
            </p:cNvSpPr>
            <p:nvPr/>
          </p:nvSpPr>
          <p:spPr bwMode="gray">
            <a:xfrm>
              <a:off x="4936" y="539"/>
              <a:ext cx="104" cy="104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 sz="444" noProof="0">
                <a:latin typeface="+mn-lt"/>
              </a:endParaRPr>
            </a:p>
          </p:txBody>
        </p:sp>
        <p:sp>
          <p:nvSpPr>
            <p:cNvPr id="42" name="Legend4"/>
            <p:cNvSpPr>
              <a:spLocks noChangeArrowheads="1"/>
            </p:cNvSpPr>
            <p:nvPr/>
          </p:nvSpPr>
          <p:spPr bwMode="gray">
            <a:xfrm>
              <a:off x="5096" y="688"/>
              <a:ext cx="418" cy="14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98768">
                <a:buClr>
                  <a:schemeClr val="tx2"/>
                </a:buClr>
              </a:pPr>
              <a:r>
                <a:rPr lang="de-DE" sz="444" noProof="0">
                  <a:latin typeface="+mn-lt"/>
                </a:rPr>
                <a:t>Legend 4</a:t>
              </a:r>
              <a:endParaRPr lang="en-US" sz="444" noProof="0">
                <a:latin typeface="+mn-lt"/>
              </a:endParaRPr>
            </a:p>
          </p:txBody>
        </p:sp>
        <p:sp>
          <p:nvSpPr>
            <p:cNvPr id="43" name="LegendRectangle4"/>
            <p:cNvSpPr>
              <a:spLocks noChangeArrowheads="1"/>
            </p:cNvSpPr>
            <p:nvPr/>
          </p:nvSpPr>
          <p:spPr bwMode="gray">
            <a:xfrm>
              <a:off x="4936" y="711"/>
              <a:ext cx="104" cy="104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 sz="444" noProof="0">
                <a:latin typeface="+mn-lt"/>
              </a:endParaRPr>
            </a:p>
          </p:txBody>
        </p:sp>
      </p:grpSp>
      <p:grpSp>
        <p:nvGrpSpPr>
          <p:cNvPr id="44" name="LegendLines" hidden="1"/>
          <p:cNvGrpSpPr>
            <a:grpSpLocks/>
          </p:cNvGrpSpPr>
          <p:nvPr/>
        </p:nvGrpSpPr>
        <p:grpSpPr bwMode="gray">
          <a:xfrm>
            <a:off x="11144404" y="533421"/>
            <a:ext cx="443915" cy="225412"/>
            <a:chOff x="4750" y="176"/>
            <a:chExt cx="772" cy="493"/>
          </a:xfrm>
        </p:grpSpPr>
        <p:sp>
          <p:nvSpPr>
            <p:cNvPr id="45" name="LineLegend1"/>
            <p:cNvSpPr>
              <a:spLocks noChangeShapeType="1"/>
            </p:cNvSpPr>
            <p:nvPr/>
          </p:nvSpPr>
          <p:spPr bwMode="gray">
            <a:xfrm>
              <a:off x="4750" y="250"/>
              <a:ext cx="288" cy="0"/>
            </a:xfrm>
            <a:prstGeom prst="line">
              <a:avLst/>
            </a:prstGeom>
            <a:noFill/>
            <a:ln w="57150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 sz="444" noProof="0">
                <a:latin typeface="+mn-lt"/>
              </a:endParaRPr>
            </a:p>
          </p:txBody>
        </p:sp>
        <p:sp>
          <p:nvSpPr>
            <p:cNvPr id="46" name="LineLegend2"/>
            <p:cNvSpPr>
              <a:spLocks noChangeShapeType="1"/>
            </p:cNvSpPr>
            <p:nvPr/>
          </p:nvSpPr>
          <p:spPr bwMode="gray">
            <a:xfrm>
              <a:off x="4750" y="422"/>
              <a:ext cx="288" cy="0"/>
            </a:xfrm>
            <a:prstGeom prst="line">
              <a:avLst/>
            </a:prstGeom>
            <a:noFill/>
            <a:ln w="57150">
              <a:solidFill>
                <a:schemeClr val="accent6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 sz="444" noProof="0">
                <a:latin typeface="+mn-lt"/>
              </a:endParaRPr>
            </a:p>
          </p:txBody>
        </p:sp>
        <p:sp>
          <p:nvSpPr>
            <p:cNvPr id="47" name="LineLegend3"/>
            <p:cNvSpPr>
              <a:spLocks noChangeShapeType="1"/>
            </p:cNvSpPr>
            <p:nvPr/>
          </p:nvSpPr>
          <p:spPr bwMode="gray">
            <a:xfrm>
              <a:off x="4750" y="595"/>
              <a:ext cx="288" cy="0"/>
            </a:xfrm>
            <a:prstGeom prst="line">
              <a:avLst/>
            </a:prstGeom>
            <a:noFill/>
            <a:ln w="57150">
              <a:solidFill>
                <a:schemeClr val="accent6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 sz="444" noProof="0">
                <a:latin typeface="+mn-lt"/>
              </a:endParaRPr>
            </a:p>
          </p:txBody>
        </p:sp>
        <p:sp>
          <p:nvSpPr>
            <p:cNvPr id="48" name="Legend1"/>
            <p:cNvSpPr>
              <a:spLocks noChangeArrowheads="1"/>
            </p:cNvSpPr>
            <p:nvPr/>
          </p:nvSpPr>
          <p:spPr bwMode="gray">
            <a:xfrm>
              <a:off x="5104" y="176"/>
              <a:ext cx="418" cy="14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98768">
                <a:buClr>
                  <a:schemeClr val="tx2"/>
                </a:buClr>
              </a:pPr>
              <a:r>
                <a:rPr lang="de-DE" sz="444" noProof="0" dirty="0">
                  <a:latin typeface="+mn-lt"/>
                </a:rPr>
                <a:t>Legend 1</a:t>
              </a:r>
              <a:endParaRPr lang="en-US" sz="444" noProof="0" dirty="0">
                <a:latin typeface="+mn-lt"/>
              </a:endParaRP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gray">
            <a:xfrm>
              <a:off x="5104" y="348"/>
              <a:ext cx="418" cy="14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98768">
                <a:buClr>
                  <a:schemeClr val="tx2"/>
                </a:buClr>
              </a:pPr>
              <a:r>
                <a:rPr lang="de-DE" sz="444" noProof="0" dirty="0">
                  <a:latin typeface="+mn-lt"/>
                </a:rPr>
                <a:t>Legend 2</a:t>
              </a:r>
              <a:endParaRPr lang="en-US" sz="444" noProof="0" dirty="0">
                <a:latin typeface="+mn-lt"/>
              </a:endParaRP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gray">
            <a:xfrm>
              <a:off x="5104" y="520"/>
              <a:ext cx="418" cy="14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98768">
                <a:buClr>
                  <a:schemeClr val="tx2"/>
                </a:buClr>
              </a:pPr>
              <a:r>
                <a:rPr lang="de-DE" sz="444" noProof="0">
                  <a:latin typeface="+mn-lt"/>
                </a:rPr>
                <a:t>Legend 3</a:t>
              </a:r>
              <a:endParaRPr lang="en-US" sz="444" noProof="0">
                <a:latin typeface="+mn-lt"/>
              </a:endParaRPr>
            </a:p>
          </p:txBody>
        </p:sp>
      </p:grpSp>
      <p:grpSp>
        <p:nvGrpSpPr>
          <p:cNvPr id="51" name="LegendMoons" hidden="1"/>
          <p:cNvGrpSpPr/>
          <p:nvPr/>
        </p:nvGrpSpPr>
        <p:grpSpPr bwMode="gray">
          <a:xfrm>
            <a:off x="11231603" y="533421"/>
            <a:ext cx="356604" cy="384331"/>
            <a:chOff x="7769225" y="2111246"/>
            <a:chExt cx="984502" cy="1334415"/>
          </a:xfrm>
        </p:grpSpPr>
        <p:grpSp>
          <p:nvGrpSpPr>
            <p:cNvPr id="52" name="MoonLegend1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gray">
            <a:xfrm>
              <a:off x="7769225" y="2125398"/>
              <a:ext cx="209550" cy="209551"/>
              <a:chOff x="4533" y="197"/>
              <a:chExt cx="144" cy="144"/>
            </a:xfrm>
          </p:grpSpPr>
          <p:sp>
            <p:nvSpPr>
              <p:cNvPr id="70" name="Oval 38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533" y="197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 sz="444" noProof="0">
                  <a:latin typeface="+mn-lt"/>
                </a:endParaRPr>
              </a:p>
            </p:txBody>
          </p:sp>
          <p:sp>
            <p:nvSpPr>
              <p:cNvPr id="71" name="Arc 39" hidden="1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533" y="197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 sz="444" noProof="0">
                  <a:latin typeface="+mn-lt"/>
                </a:endParaRPr>
              </a:p>
            </p:txBody>
          </p:sp>
        </p:grpSp>
        <p:grpSp>
          <p:nvGrpSpPr>
            <p:cNvPr id="53" name="MoonLegend2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gray">
            <a:xfrm>
              <a:off x="7769225" y="2400221"/>
              <a:ext cx="209550" cy="209551"/>
              <a:chOff x="1694" y="2060"/>
              <a:chExt cx="160" cy="160"/>
            </a:xfrm>
          </p:grpSpPr>
          <p:sp>
            <p:nvSpPr>
              <p:cNvPr id="68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1694" y="206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 sz="444" noProof="0">
                  <a:latin typeface="+mn-lt"/>
                </a:endParaRPr>
              </a:p>
            </p:txBody>
          </p:sp>
          <p:sp>
            <p:nvSpPr>
              <p:cNvPr id="69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1694" y="2060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 sz="444" noProof="0">
                  <a:latin typeface="+mn-lt"/>
                </a:endParaRPr>
              </a:p>
            </p:txBody>
          </p:sp>
        </p:grpSp>
        <p:grpSp>
          <p:nvGrpSpPr>
            <p:cNvPr id="54" name="MoonLegend4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gray">
            <a:xfrm>
              <a:off x="7769225" y="2947393"/>
              <a:ext cx="209550" cy="209551"/>
              <a:chOff x="4495" y="1213"/>
              <a:chExt cx="160" cy="160"/>
            </a:xfrm>
          </p:grpSpPr>
          <p:sp>
            <p:nvSpPr>
              <p:cNvPr id="66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213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 sz="444" noProof="0">
                  <a:latin typeface="+mn-lt"/>
                </a:endParaRPr>
              </a:p>
            </p:txBody>
          </p:sp>
          <p:sp>
            <p:nvSpPr>
              <p:cNvPr id="67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213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 sz="444" noProof="0">
                  <a:latin typeface="+mn-lt"/>
                </a:endParaRPr>
              </a:p>
            </p:txBody>
          </p:sp>
        </p:grpSp>
        <p:grpSp>
          <p:nvGrpSpPr>
            <p:cNvPr id="55" name="MoonLegend5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3221636"/>
              <a:ext cx="209550" cy="209551"/>
              <a:chOff x="4495" y="1455"/>
              <a:chExt cx="160" cy="160"/>
            </a:xfrm>
          </p:grpSpPr>
          <p:sp>
            <p:nvSpPr>
              <p:cNvPr id="64" name="Oval 50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4495" y="145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 sz="444" noProof="0">
                  <a:latin typeface="+mn-lt"/>
                </a:endParaRPr>
              </a:p>
            </p:txBody>
          </p:sp>
          <p:sp>
            <p:nvSpPr>
              <p:cNvPr id="65" name="Oval 5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455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 sz="444" noProof="0">
                  <a:latin typeface="+mn-lt"/>
                </a:endParaRPr>
              </a:p>
            </p:txBody>
          </p:sp>
        </p:grpSp>
        <p:sp>
          <p:nvSpPr>
            <p:cNvPr id="56" name="Legend1"/>
            <p:cNvSpPr>
              <a:spLocks noChangeArrowheads="1"/>
            </p:cNvSpPr>
            <p:nvPr/>
          </p:nvSpPr>
          <p:spPr bwMode="gray">
            <a:xfrm>
              <a:off x="8089900" y="2111246"/>
              <a:ext cx="663827" cy="2373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98768">
                <a:buClr>
                  <a:schemeClr val="tx2"/>
                </a:buClr>
              </a:pPr>
              <a:r>
                <a:rPr lang="de-DE" sz="444" noProof="0" dirty="0">
                  <a:latin typeface="+mn-lt"/>
                </a:rPr>
                <a:t>Legend 1</a:t>
              </a:r>
              <a:endParaRPr lang="en-US" sz="444" noProof="0" dirty="0">
                <a:latin typeface="+mn-lt"/>
              </a:endParaRPr>
            </a:p>
          </p:txBody>
        </p:sp>
        <p:sp>
          <p:nvSpPr>
            <p:cNvPr id="57" name="Legend2"/>
            <p:cNvSpPr>
              <a:spLocks noChangeArrowheads="1"/>
            </p:cNvSpPr>
            <p:nvPr/>
          </p:nvSpPr>
          <p:spPr bwMode="gray">
            <a:xfrm>
              <a:off x="8089900" y="2385816"/>
              <a:ext cx="663827" cy="2373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98768">
                <a:buClr>
                  <a:schemeClr val="tx2"/>
                </a:buClr>
              </a:pPr>
              <a:r>
                <a:rPr lang="de-DE" sz="444" noProof="0" dirty="0">
                  <a:latin typeface="+mn-lt"/>
                </a:rPr>
                <a:t>Legend 2</a:t>
              </a:r>
              <a:endParaRPr lang="en-US" sz="444" noProof="0" dirty="0">
                <a:latin typeface="+mn-lt"/>
              </a:endParaRPr>
            </a:p>
          </p:txBody>
        </p:sp>
        <p:sp>
          <p:nvSpPr>
            <p:cNvPr id="58" name="Legend3"/>
            <p:cNvSpPr>
              <a:spLocks noChangeArrowheads="1"/>
            </p:cNvSpPr>
            <p:nvPr/>
          </p:nvSpPr>
          <p:spPr bwMode="gray">
            <a:xfrm>
              <a:off x="8089900" y="2660253"/>
              <a:ext cx="663827" cy="2373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98768">
                <a:buClr>
                  <a:schemeClr val="tx2"/>
                </a:buClr>
              </a:pPr>
              <a:r>
                <a:rPr lang="de-DE" sz="444" noProof="0">
                  <a:latin typeface="+mn-lt"/>
                </a:rPr>
                <a:t>Legend 3</a:t>
              </a:r>
              <a:endParaRPr lang="en-US" sz="444" noProof="0">
                <a:latin typeface="+mn-lt"/>
              </a:endParaRPr>
            </a:p>
          </p:txBody>
        </p:sp>
        <p:sp>
          <p:nvSpPr>
            <p:cNvPr id="59" name="Legend4"/>
            <p:cNvSpPr>
              <a:spLocks noChangeArrowheads="1"/>
            </p:cNvSpPr>
            <p:nvPr/>
          </p:nvSpPr>
          <p:spPr bwMode="gray">
            <a:xfrm>
              <a:off x="8089900" y="2933108"/>
              <a:ext cx="663827" cy="2373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98768">
                <a:buClr>
                  <a:schemeClr val="tx2"/>
                </a:buClr>
              </a:pPr>
              <a:r>
                <a:rPr lang="de-DE" sz="444" noProof="0">
                  <a:latin typeface="+mn-lt"/>
                </a:rPr>
                <a:t>Legend 4</a:t>
              </a:r>
              <a:endParaRPr lang="en-US" sz="444" noProof="0">
                <a:latin typeface="+mn-lt"/>
              </a:endParaRPr>
            </a:p>
          </p:txBody>
        </p:sp>
        <p:sp>
          <p:nvSpPr>
            <p:cNvPr id="60" name="Legend5"/>
            <p:cNvSpPr>
              <a:spLocks noChangeArrowheads="1"/>
            </p:cNvSpPr>
            <p:nvPr/>
          </p:nvSpPr>
          <p:spPr bwMode="gray">
            <a:xfrm>
              <a:off x="8089900" y="3208340"/>
              <a:ext cx="663827" cy="2373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98768">
                <a:buClr>
                  <a:schemeClr val="tx2"/>
                </a:buClr>
              </a:pPr>
              <a:r>
                <a:rPr lang="de-DE" sz="444" noProof="0" dirty="0">
                  <a:latin typeface="+mn-lt"/>
                </a:rPr>
                <a:t>Legend 5</a:t>
              </a:r>
              <a:endParaRPr lang="en-US" sz="444" noProof="0" dirty="0">
                <a:latin typeface="+mn-lt"/>
              </a:endParaRPr>
            </a:p>
          </p:txBody>
        </p:sp>
        <p:grpSp>
          <p:nvGrpSpPr>
            <p:cNvPr id="61" name="MoonLegend3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674462"/>
              <a:ext cx="209550" cy="209551"/>
              <a:chOff x="4495" y="1214"/>
              <a:chExt cx="160" cy="160"/>
            </a:xfrm>
          </p:grpSpPr>
          <p:sp>
            <p:nvSpPr>
              <p:cNvPr id="62" name="Oval 47"/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gray">
              <a:xfrm>
                <a:off x="4495" y="121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 sz="444" noProof="0">
                  <a:latin typeface="+mn-lt"/>
                </a:endParaRPr>
              </a:p>
            </p:txBody>
          </p:sp>
          <p:sp>
            <p:nvSpPr>
              <p:cNvPr id="63" name="Arc 48"/>
              <p:cNvSpPr>
                <a:spLocks noChangeAspect="1"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4495" y="121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 sz="444" noProof="0">
                  <a:latin typeface="+mn-lt"/>
                </a:endParaRPr>
              </a:p>
            </p:txBody>
          </p:sp>
        </p:grpSp>
      </p:grpSp>
      <p:grpSp>
        <p:nvGrpSpPr>
          <p:cNvPr id="76" name="McKSticker" hidden="1"/>
          <p:cNvGrpSpPr/>
          <p:nvPr/>
        </p:nvGrpSpPr>
        <p:grpSpPr bwMode="gray">
          <a:xfrm>
            <a:off x="11436001" y="511316"/>
            <a:ext cx="250069" cy="125133"/>
            <a:chOff x="7845010" y="124617"/>
            <a:chExt cx="895765" cy="563713"/>
          </a:xfrm>
        </p:grpSpPr>
        <p:sp>
          <p:nvSpPr>
            <p:cNvPr id="77" name="StickerRectangle"/>
            <p:cNvSpPr>
              <a:spLocks noChangeArrowheads="1"/>
            </p:cNvSpPr>
            <p:nvPr/>
          </p:nvSpPr>
          <p:spPr bwMode="gray">
            <a:xfrm>
              <a:off x="7845010" y="124617"/>
              <a:ext cx="895765" cy="56371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28800" rIns="0" bIns="27432" anchor="ctr" anchorCtr="0">
              <a:spAutoFit/>
            </a:bodyPr>
            <a:lstStyle/>
            <a:p>
              <a:pPr algn="r" defTabSz="198768">
                <a:buClr>
                  <a:schemeClr val="tx2"/>
                </a:buClr>
              </a:pPr>
              <a:r>
                <a:rPr lang="de-DE" sz="444" noProof="0">
                  <a:solidFill>
                    <a:schemeClr val="tx1"/>
                  </a:solidFill>
                  <a:latin typeface="+mn-lt"/>
                </a:rPr>
                <a:t>STICKER</a:t>
              </a:r>
              <a:endParaRPr lang="en-US" sz="444" noProof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78" name="AutoShape 32"/>
            <p:cNvCxnSpPr>
              <a:cxnSpLocks noChangeShapeType="1"/>
              <a:stCxn id="77" idx="4"/>
              <a:endCxn id="77" idx="6"/>
            </p:cNvCxnSpPr>
            <p:nvPr/>
          </p:nvCxnSpPr>
          <p:spPr bwMode="gray">
            <a:xfrm>
              <a:off x="7845010" y="688330"/>
              <a:ext cx="895765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9" name="AutoShape 32"/>
            <p:cNvCxnSpPr>
              <a:cxnSpLocks noChangeShapeType="1"/>
              <a:stCxn id="77" idx="2"/>
              <a:endCxn id="77" idx="0"/>
            </p:cNvCxnSpPr>
            <p:nvPr userDrawn="1"/>
          </p:nvCxnSpPr>
          <p:spPr bwMode="gray">
            <a:xfrm>
              <a:off x="7845010" y="124617"/>
              <a:ext cx="895765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</p:sldLayoutIdLst>
  <p:hf hdr="0" ftr="0" dt="0"/>
  <p:txStyles>
    <p:titleStyle>
      <a:lvl1pPr algn="l" defTabSz="926317" rtl="0" eaLnBrk="1" fontAlgn="base" hangingPunct="1">
        <a:spcBef>
          <a:spcPct val="0"/>
        </a:spcBef>
        <a:spcAft>
          <a:spcPct val="0"/>
        </a:spcAft>
        <a:tabLst>
          <a:tab pos="437712" algn="l"/>
        </a:tabLst>
        <a:defRPr lang="de-DE" sz="2220" b="1" baseline="0" noProof="0" dirty="0" smtClean="0">
          <a:solidFill>
            <a:schemeClr val="tx2"/>
          </a:solidFill>
          <a:latin typeface="+mj-lt"/>
          <a:ea typeface="+mj-ea"/>
          <a:cs typeface="+mj-cs"/>
        </a:defRPr>
      </a:lvl1pPr>
      <a:lvl2pPr algn="l" defTabSz="926317" rtl="0" eaLnBrk="1" fontAlgn="base" hangingPunct="1">
        <a:spcBef>
          <a:spcPct val="0"/>
        </a:spcBef>
        <a:spcAft>
          <a:spcPct val="0"/>
        </a:spcAft>
        <a:defRPr sz="1976" b="1">
          <a:solidFill>
            <a:schemeClr val="tx2"/>
          </a:solidFill>
          <a:latin typeface="Arial" charset="0"/>
        </a:defRPr>
      </a:lvl2pPr>
      <a:lvl3pPr algn="l" defTabSz="926317" rtl="0" eaLnBrk="1" fontAlgn="base" hangingPunct="1">
        <a:spcBef>
          <a:spcPct val="0"/>
        </a:spcBef>
        <a:spcAft>
          <a:spcPct val="0"/>
        </a:spcAft>
        <a:defRPr sz="1976" b="1">
          <a:solidFill>
            <a:schemeClr val="tx2"/>
          </a:solidFill>
          <a:latin typeface="Arial" charset="0"/>
        </a:defRPr>
      </a:lvl3pPr>
      <a:lvl4pPr algn="l" defTabSz="926317" rtl="0" eaLnBrk="1" fontAlgn="base" hangingPunct="1">
        <a:spcBef>
          <a:spcPct val="0"/>
        </a:spcBef>
        <a:spcAft>
          <a:spcPct val="0"/>
        </a:spcAft>
        <a:defRPr sz="1976" b="1">
          <a:solidFill>
            <a:schemeClr val="tx2"/>
          </a:solidFill>
          <a:latin typeface="Arial" charset="0"/>
        </a:defRPr>
      </a:lvl4pPr>
      <a:lvl5pPr algn="l" defTabSz="926317" rtl="0" eaLnBrk="1" fontAlgn="base" hangingPunct="1">
        <a:spcBef>
          <a:spcPct val="0"/>
        </a:spcBef>
        <a:spcAft>
          <a:spcPct val="0"/>
        </a:spcAft>
        <a:defRPr sz="1976" b="1">
          <a:solidFill>
            <a:schemeClr val="tx2"/>
          </a:solidFill>
          <a:latin typeface="Arial" charset="0"/>
        </a:defRPr>
      </a:lvl5pPr>
      <a:lvl6pPr marL="473013" algn="l" defTabSz="926317" rtl="0" eaLnBrk="1" fontAlgn="base" hangingPunct="1">
        <a:spcBef>
          <a:spcPct val="0"/>
        </a:spcBef>
        <a:spcAft>
          <a:spcPct val="0"/>
        </a:spcAft>
        <a:defRPr sz="1976" b="1">
          <a:solidFill>
            <a:schemeClr val="tx2"/>
          </a:solidFill>
          <a:latin typeface="Arial" charset="0"/>
        </a:defRPr>
      </a:lvl6pPr>
      <a:lvl7pPr marL="946026" algn="l" defTabSz="926317" rtl="0" eaLnBrk="1" fontAlgn="base" hangingPunct="1">
        <a:spcBef>
          <a:spcPct val="0"/>
        </a:spcBef>
        <a:spcAft>
          <a:spcPct val="0"/>
        </a:spcAft>
        <a:defRPr sz="1976" b="1">
          <a:solidFill>
            <a:schemeClr val="tx2"/>
          </a:solidFill>
          <a:latin typeface="Arial" charset="0"/>
        </a:defRPr>
      </a:lvl7pPr>
      <a:lvl8pPr marL="1419039" algn="l" defTabSz="926317" rtl="0" eaLnBrk="1" fontAlgn="base" hangingPunct="1">
        <a:spcBef>
          <a:spcPct val="0"/>
        </a:spcBef>
        <a:spcAft>
          <a:spcPct val="0"/>
        </a:spcAft>
        <a:defRPr sz="1976" b="1">
          <a:solidFill>
            <a:schemeClr val="tx2"/>
          </a:solidFill>
          <a:latin typeface="Arial" charset="0"/>
        </a:defRPr>
      </a:lvl8pPr>
      <a:lvl9pPr marL="1892052" algn="l" defTabSz="926317" rtl="0" eaLnBrk="1" fontAlgn="base" hangingPunct="1">
        <a:spcBef>
          <a:spcPct val="0"/>
        </a:spcBef>
        <a:spcAft>
          <a:spcPct val="0"/>
        </a:spcAft>
        <a:defRPr sz="1976" b="1">
          <a:solidFill>
            <a:schemeClr val="tx2"/>
          </a:solidFill>
          <a:latin typeface="Arial" charset="0"/>
        </a:defRPr>
      </a:lvl9pPr>
    </p:titleStyle>
    <p:bodyStyle>
      <a:lvl1pPr marL="0" indent="0" algn="l" defTabSz="926317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lang="en-US" sz="888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99384" indent="-97622" algn="l" defTabSz="92631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•"/>
        <a:defRPr lang="en-US" sz="888" baseline="0" noProof="0" dirty="0" smtClean="0">
          <a:solidFill>
            <a:schemeClr val="tx1"/>
          </a:solidFill>
          <a:latin typeface="+mn-lt"/>
        </a:defRPr>
      </a:lvl2pPr>
      <a:lvl3pPr marL="238944" indent="-139560" algn="l" defTabSz="92631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–"/>
        <a:defRPr lang="en-US" sz="888" baseline="0" noProof="0" dirty="0" smtClean="0">
          <a:solidFill>
            <a:schemeClr val="tx1"/>
          </a:solidFill>
          <a:latin typeface="+mn-lt"/>
        </a:defRPr>
      </a:lvl3pPr>
      <a:lvl4pPr marL="358416" indent="-119825" algn="l" defTabSz="92631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◦"/>
        <a:defRPr lang="en-US" sz="888" baseline="0" noProof="0" dirty="0" smtClean="0">
          <a:solidFill>
            <a:schemeClr val="tx1"/>
          </a:solidFill>
          <a:latin typeface="+mn-lt"/>
        </a:defRPr>
      </a:lvl4pPr>
      <a:lvl5pPr marL="457800" indent="-99384" algn="l" defTabSz="92631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de-DE" sz="888" baseline="0" noProof="0" dirty="0">
          <a:solidFill>
            <a:schemeClr val="tx1"/>
          </a:solidFill>
          <a:latin typeface="+mn-lt"/>
        </a:defRPr>
      </a:lvl5pPr>
      <a:lvl6pPr marL="775741" indent="-134677" algn="l" defTabSz="92631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65">
          <a:solidFill>
            <a:schemeClr val="tx1"/>
          </a:solidFill>
          <a:latin typeface="+mn-lt"/>
        </a:defRPr>
      </a:lvl6pPr>
      <a:lvl7pPr marL="775741" indent="-134677" algn="l" defTabSz="92631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65">
          <a:solidFill>
            <a:schemeClr val="tx1"/>
          </a:solidFill>
          <a:latin typeface="+mn-lt"/>
        </a:defRPr>
      </a:lvl7pPr>
      <a:lvl8pPr marL="775741" indent="-134677" algn="l" defTabSz="92631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65">
          <a:solidFill>
            <a:schemeClr val="tx1"/>
          </a:solidFill>
          <a:latin typeface="+mn-lt"/>
        </a:defRPr>
      </a:lvl8pPr>
      <a:lvl9pPr marL="775741" indent="-134677" algn="l" defTabSz="92631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65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46026" rtl="0" eaLnBrk="1" latinLnBrk="0" hangingPunct="1">
        <a:defRPr sz="1865" kern="1200">
          <a:solidFill>
            <a:schemeClr val="tx1"/>
          </a:solidFill>
          <a:latin typeface="+mn-lt"/>
          <a:ea typeface="+mn-ea"/>
          <a:cs typeface="+mn-cs"/>
        </a:defRPr>
      </a:lvl1pPr>
      <a:lvl2pPr marL="473013" algn="l" defTabSz="946026" rtl="0" eaLnBrk="1" latinLnBrk="0" hangingPunct="1">
        <a:defRPr sz="1865" kern="1200">
          <a:solidFill>
            <a:schemeClr val="tx1"/>
          </a:solidFill>
          <a:latin typeface="+mn-lt"/>
          <a:ea typeface="+mn-ea"/>
          <a:cs typeface="+mn-cs"/>
        </a:defRPr>
      </a:lvl2pPr>
      <a:lvl3pPr marL="946026" algn="l" defTabSz="946026" rtl="0" eaLnBrk="1" latinLnBrk="0" hangingPunct="1">
        <a:defRPr sz="1865" kern="1200">
          <a:solidFill>
            <a:schemeClr val="tx1"/>
          </a:solidFill>
          <a:latin typeface="+mn-lt"/>
          <a:ea typeface="+mn-ea"/>
          <a:cs typeface="+mn-cs"/>
        </a:defRPr>
      </a:lvl3pPr>
      <a:lvl4pPr marL="1419039" algn="l" defTabSz="946026" rtl="0" eaLnBrk="1" latinLnBrk="0" hangingPunct="1">
        <a:defRPr sz="1865" kern="1200">
          <a:solidFill>
            <a:schemeClr val="tx1"/>
          </a:solidFill>
          <a:latin typeface="+mn-lt"/>
          <a:ea typeface="+mn-ea"/>
          <a:cs typeface="+mn-cs"/>
        </a:defRPr>
      </a:lvl4pPr>
      <a:lvl5pPr marL="1892052" algn="l" defTabSz="946026" rtl="0" eaLnBrk="1" latinLnBrk="0" hangingPunct="1">
        <a:defRPr sz="1865" kern="1200">
          <a:solidFill>
            <a:schemeClr val="tx1"/>
          </a:solidFill>
          <a:latin typeface="+mn-lt"/>
          <a:ea typeface="+mn-ea"/>
          <a:cs typeface="+mn-cs"/>
        </a:defRPr>
      </a:lvl5pPr>
      <a:lvl6pPr marL="2365065" algn="l" defTabSz="946026" rtl="0" eaLnBrk="1" latinLnBrk="0" hangingPunct="1">
        <a:defRPr sz="1865" kern="1200">
          <a:solidFill>
            <a:schemeClr val="tx1"/>
          </a:solidFill>
          <a:latin typeface="+mn-lt"/>
          <a:ea typeface="+mn-ea"/>
          <a:cs typeface="+mn-cs"/>
        </a:defRPr>
      </a:lvl6pPr>
      <a:lvl7pPr marL="2838078" algn="l" defTabSz="946026" rtl="0" eaLnBrk="1" latinLnBrk="0" hangingPunct="1">
        <a:defRPr sz="1865" kern="1200">
          <a:solidFill>
            <a:schemeClr val="tx1"/>
          </a:solidFill>
          <a:latin typeface="+mn-lt"/>
          <a:ea typeface="+mn-ea"/>
          <a:cs typeface="+mn-cs"/>
        </a:defRPr>
      </a:lvl7pPr>
      <a:lvl8pPr marL="3311091" algn="l" defTabSz="946026" rtl="0" eaLnBrk="1" latinLnBrk="0" hangingPunct="1">
        <a:defRPr sz="1865" kern="1200">
          <a:solidFill>
            <a:schemeClr val="tx1"/>
          </a:solidFill>
          <a:latin typeface="+mn-lt"/>
          <a:ea typeface="+mn-ea"/>
          <a:cs typeface="+mn-cs"/>
        </a:defRPr>
      </a:lvl8pPr>
      <a:lvl9pPr marL="3784104" algn="l" defTabSz="946026" rtl="0" eaLnBrk="1" latinLnBrk="0" hangingPunct="1">
        <a:defRPr sz="18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0" y="0"/>
          <a:ext cx="21170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63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70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/>
        </p:nvSpPr>
        <p:spPr bwMode="auto">
          <a:xfrm>
            <a:off x="0" y="6300788"/>
            <a:ext cx="11950700" cy="422275"/>
          </a:xfrm>
          <a:prstGeom prst="rect">
            <a:avLst/>
          </a:prstGeom>
          <a:solidFill>
            <a:srgbClr val="C7DFF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7860" y="36514"/>
            <a:ext cx="87645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449"/>
            <a:endParaRPr lang="en-US" sz="8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691365" y="1940592"/>
            <a:ext cx="233237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Last Modified 7/25/2018 10:40 AM Central European Standard Time</a:t>
            </a:r>
            <a:endParaRPr lang="en-US" sz="16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984715" y="4114418"/>
            <a:ext cx="174567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Printed 29 Nov 16 13:31 W. Europe Standard Time</a:t>
            </a:r>
            <a:endParaRPr lang="en-US" sz="16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58779" y="230188"/>
            <a:ext cx="11493418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auto">
          <a:xfrm>
            <a:off x="158779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auto">
          <a:xfrm>
            <a:off x="158778" y="531813"/>
            <a:ext cx="1149341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 userDrawn="1"/>
        </p:nvGrpSpPr>
        <p:grpSpPr bwMode="auto">
          <a:xfrm>
            <a:off x="158779" y="6078549"/>
            <a:ext cx="11400268" cy="512763"/>
            <a:chOff x="75" y="3829"/>
            <a:chExt cx="5385" cy="323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auto">
            <a:xfrm>
              <a:off x="75" y="3829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auto">
            <a:xfrm>
              <a:off x="75" y="4055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09667" indent="-609667" defTabSz="895449">
                <a:tabLst>
                  <a:tab pos="612842" algn="l"/>
                </a:tabLst>
              </a:pPr>
              <a:r>
                <a:rPr lang="en-US" sz="1000">
                  <a:solidFill>
                    <a:srgbClr val="000000"/>
                  </a:solidFill>
                  <a:latin typeface="Arial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 userDrawn="1"/>
        </p:nvGrpSpPr>
        <p:grpSpPr bwMode="auto">
          <a:xfrm>
            <a:off x="1937094" y="1123952"/>
            <a:ext cx="5686374" cy="511173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sz="160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9855596" y="6434982"/>
            <a:ext cx="1256755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449"/>
            <a:r>
              <a:rPr lang="en-US" sz="1000">
                <a:solidFill>
                  <a:srgbClr val="000000"/>
                </a:solidFill>
                <a:latin typeface="Arial"/>
              </a:rPr>
              <a:t>McKinsey &amp; Company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937096" y="1951380"/>
            <a:ext cx="5737182" cy="123110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226134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</p:sldLayoutIdLst>
  <p:hf hdr="0" ftr="0" dt="0"/>
  <p:txStyles>
    <p:titleStyle>
      <a:lvl1pPr algn="l" defTabSz="895449" rtl="0" eaLnBrk="1" fontAlgn="base" hangingPunct="1">
        <a:spcBef>
          <a:spcPct val="0"/>
        </a:spcBef>
        <a:spcAft>
          <a:spcPct val="0"/>
        </a:spcAft>
        <a:tabLst>
          <a:tab pos="269905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44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44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44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44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50" algn="l" defTabSz="89544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501" algn="l" defTabSz="89544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751" algn="l" defTabSz="89544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9001" algn="l" defTabSz="89544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44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96" indent="-192109" algn="l" defTabSz="89544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50" indent="-261967" algn="l" defTabSz="89544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431" indent="-155592" algn="l" defTabSz="89544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90" indent="-130189" algn="l" defTabSz="89544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90" indent="-130189" algn="l" defTabSz="89544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90" indent="-130189" algn="l" defTabSz="89544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90" indent="-130189" algn="l" defTabSz="89544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90" indent="-130189" algn="l" defTabSz="89544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50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50" algn="l" defTabSz="91450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501" algn="l" defTabSz="91450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751" algn="l" defTabSz="91450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9001" algn="l" defTabSz="91450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251" algn="l" defTabSz="91450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502" algn="l" defTabSz="91450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752" algn="l" defTabSz="91450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8002" algn="l" defTabSz="91450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0" y="0"/>
          <a:ext cx="21170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34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70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/>
        </p:nvSpPr>
        <p:spPr bwMode="auto">
          <a:xfrm>
            <a:off x="0" y="6300788"/>
            <a:ext cx="11950700" cy="422275"/>
          </a:xfrm>
          <a:prstGeom prst="rect">
            <a:avLst/>
          </a:prstGeom>
          <a:solidFill>
            <a:srgbClr val="C7DFF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7860" y="36514"/>
            <a:ext cx="87645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449"/>
            <a:endParaRPr lang="en-US" sz="8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691365" y="1940592"/>
            <a:ext cx="233237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Last Modified 7/25/2018 10:40 AM Central European Standard Time</a:t>
            </a:r>
            <a:endParaRPr lang="en-US" sz="16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984715" y="4114418"/>
            <a:ext cx="174567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Arial"/>
              </a:rPr>
              <a:t>Printed 29 Nov 16 13:31 W. Europe Standard Time</a:t>
            </a:r>
            <a:endParaRPr lang="en-US" sz="16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58779" y="230188"/>
            <a:ext cx="11493418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auto">
          <a:xfrm>
            <a:off x="158779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auto">
          <a:xfrm>
            <a:off x="158778" y="531813"/>
            <a:ext cx="1149341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 userDrawn="1"/>
        </p:nvGrpSpPr>
        <p:grpSpPr bwMode="auto">
          <a:xfrm>
            <a:off x="158779" y="6078549"/>
            <a:ext cx="11400268" cy="512763"/>
            <a:chOff x="75" y="3829"/>
            <a:chExt cx="5385" cy="323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auto">
            <a:xfrm>
              <a:off x="75" y="3829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auto">
            <a:xfrm>
              <a:off x="75" y="4055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09667" indent="-609667" defTabSz="895449">
                <a:tabLst>
                  <a:tab pos="612842" algn="l"/>
                </a:tabLst>
              </a:pPr>
              <a:r>
                <a:rPr lang="en-US" sz="1000">
                  <a:solidFill>
                    <a:srgbClr val="000000"/>
                  </a:solidFill>
                  <a:latin typeface="Arial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 userDrawn="1"/>
        </p:nvGrpSpPr>
        <p:grpSpPr bwMode="auto">
          <a:xfrm>
            <a:off x="1937094" y="1123952"/>
            <a:ext cx="5686374" cy="511173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sz="160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9855596" y="6434982"/>
            <a:ext cx="1256755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449"/>
            <a:r>
              <a:rPr lang="en-US" sz="1000">
                <a:solidFill>
                  <a:srgbClr val="000000"/>
                </a:solidFill>
                <a:latin typeface="Arial"/>
              </a:rPr>
              <a:t>McKinsey &amp; Company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937096" y="1951380"/>
            <a:ext cx="5737182" cy="123110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151395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</p:sldLayoutIdLst>
  <p:hf hdr="0" ftr="0" dt="0"/>
  <p:txStyles>
    <p:titleStyle>
      <a:lvl1pPr algn="l" defTabSz="895449" rtl="0" eaLnBrk="1" fontAlgn="base" hangingPunct="1">
        <a:spcBef>
          <a:spcPct val="0"/>
        </a:spcBef>
        <a:spcAft>
          <a:spcPct val="0"/>
        </a:spcAft>
        <a:tabLst>
          <a:tab pos="269905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44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44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44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44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50" algn="l" defTabSz="89544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501" algn="l" defTabSz="89544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751" algn="l" defTabSz="89544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9001" algn="l" defTabSz="89544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44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96" indent="-192109" algn="l" defTabSz="89544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50" indent="-261967" algn="l" defTabSz="89544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431" indent="-155592" algn="l" defTabSz="89544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90" indent="-130189" algn="l" defTabSz="89544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90" indent="-130189" algn="l" defTabSz="89544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90" indent="-130189" algn="l" defTabSz="89544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90" indent="-130189" algn="l" defTabSz="89544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90" indent="-130189" algn="l" defTabSz="89544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50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50" algn="l" defTabSz="91450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501" algn="l" defTabSz="91450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751" algn="l" defTabSz="91450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9001" algn="l" defTabSz="91450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251" algn="l" defTabSz="91450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502" algn="l" defTabSz="91450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752" algn="l" defTabSz="91450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8002" algn="l" defTabSz="91450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637257684"/>
              </p:ext>
            </p:extLst>
          </p:nvPr>
        </p:nvGraphicFramePr>
        <p:xfrm>
          <a:off x="0" y="0"/>
          <a:ext cx="21170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70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170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7062" y="50803"/>
            <a:ext cx="12071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4921" y="4114413"/>
            <a:ext cx="245260" cy="923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81" y="230190"/>
            <a:ext cx="1149341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80" y="75765"/>
            <a:ext cx="49058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81" y="554866"/>
            <a:ext cx="1149341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79" y="6305946"/>
            <a:ext cx="11400268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80" y="6507559"/>
            <a:ext cx="9954329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7094" y="1254580"/>
            <a:ext cx="5686373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178785" y="285751"/>
            <a:ext cx="473398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0888342" y="279401"/>
            <a:ext cx="763856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916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916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916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916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580493" y="279401"/>
            <a:ext cx="1071705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916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916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916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0821657" y="250825"/>
            <a:ext cx="83054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16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16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16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16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16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16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16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16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16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16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765654" y="6507559"/>
            <a:ext cx="45725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16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52758" y="1951380"/>
            <a:ext cx="4302696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89473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0" y="0"/>
          <a:ext cx="21170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3" name="think-cell Slide" r:id="rId38" imgW="270" imgH="270" progId="TCLayout.ActiveDocument.1">
                  <p:embed/>
                </p:oleObj>
              </mc:Choice>
              <mc:Fallback>
                <p:oleObj name="think-cell Slide" r:id="rId3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70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170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133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4921" y="4114413"/>
            <a:ext cx="245260" cy="923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81" y="230190"/>
            <a:ext cx="1149341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80" y="75765"/>
            <a:ext cx="49058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81" y="554866"/>
            <a:ext cx="1149341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79" y="6305946"/>
            <a:ext cx="11400268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80" y="6507559"/>
            <a:ext cx="9954329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/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37096" y="1951380"/>
            <a:ext cx="3602592" cy="12311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7094" y="1157743"/>
            <a:ext cx="5686373" cy="608013"/>
            <a:chOff x="915" y="647"/>
            <a:chExt cx="2686" cy="383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647"/>
              <a:ext cx="2686" cy="3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916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916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178785" y="285751"/>
            <a:ext cx="473398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0888342" y="279401"/>
            <a:ext cx="763856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916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916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916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916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580493" y="279401"/>
            <a:ext cx="1071705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916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916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916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0821657" y="250825"/>
            <a:ext cx="83054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16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16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16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16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16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16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16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16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16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16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765654" y="6507559"/>
            <a:ext cx="45725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16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61" name="doc id" hidden="1"/>
          <p:cNvSpPr>
            <a:spLocks noChangeArrowheads="1"/>
          </p:cNvSpPr>
          <p:nvPr/>
        </p:nvSpPr>
        <p:spPr bwMode="auto">
          <a:xfrm>
            <a:off x="10240064" y="50802"/>
            <a:ext cx="141129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63" name="LegendBoxes" hidden="1"/>
          <p:cNvGrpSpPr/>
          <p:nvPr/>
        </p:nvGrpSpPr>
        <p:grpSpPr bwMode="gray">
          <a:xfrm>
            <a:off x="10839567" y="431801"/>
            <a:ext cx="763856" cy="997467"/>
            <a:chOff x="7835905" y="279400"/>
            <a:chExt cx="763755" cy="997467"/>
          </a:xfrm>
        </p:grpSpPr>
        <p:sp>
          <p:nvSpPr>
            <p:cNvPr id="6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916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916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916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916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2" name="LegendLines" hidden="1"/>
          <p:cNvGrpSpPr/>
          <p:nvPr/>
        </p:nvGrpSpPr>
        <p:grpSpPr bwMode="gray">
          <a:xfrm>
            <a:off x="10531718" y="431801"/>
            <a:ext cx="1071705" cy="730251"/>
            <a:chOff x="7540629" y="279400"/>
            <a:chExt cx="1071563" cy="730251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916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916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916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9" name="LegendMoons" hidden="1"/>
          <p:cNvGrpSpPr/>
          <p:nvPr/>
        </p:nvGrpSpPr>
        <p:grpSpPr bwMode="gray">
          <a:xfrm>
            <a:off x="10772883" y="403225"/>
            <a:ext cx="830540" cy="1306516"/>
            <a:chOff x="7769225" y="250825"/>
            <a:chExt cx="830430" cy="1306516"/>
          </a:xfrm>
        </p:grpSpPr>
        <p:grpSp>
          <p:nvGrpSpPr>
            <p:cNvPr id="8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9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16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16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9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16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16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16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16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9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16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16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9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16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16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8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745627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609630" indent="-349268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819192" indent="-207444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999794" indent="-173575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1" Type="http://schemas.openxmlformats.org/officeDocument/2006/relationships/image" Target="../media/image13.jpeg"/><Relationship Id="rId12" Type="http://schemas.openxmlformats.org/officeDocument/2006/relationships/image" Target="../media/image14.jpeg"/><Relationship Id="rId13" Type="http://schemas.openxmlformats.org/officeDocument/2006/relationships/image" Target="../media/image15.png"/><Relationship Id="rId1" Type="http://schemas.openxmlformats.org/officeDocument/2006/relationships/vmlDrawing" Target="../drawings/vmlDrawing12.vml"/><Relationship Id="rId2" Type="http://schemas.openxmlformats.org/officeDocument/2006/relationships/tags" Target="../tags/tag85.xml"/><Relationship Id="rId3" Type="http://schemas.openxmlformats.org/officeDocument/2006/relationships/tags" Target="../tags/tag86.xml"/><Relationship Id="rId4" Type="http://schemas.openxmlformats.org/officeDocument/2006/relationships/slideLayout" Target="../slideLayouts/slideLayout9.xml"/><Relationship Id="rId5" Type="http://schemas.openxmlformats.org/officeDocument/2006/relationships/oleObject" Target="../embeddings/oleObject12.bin"/><Relationship Id="rId6" Type="http://schemas.openxmlformats.org/officeDocument/2006/relationships/image" Target="../media/image8.emf"/><Relationship Id="rId7" Type="http://schemas.openxmlformats.org/officeDocument/2006/relationships/image" Target="../media/image9.jpg"/><Relationship Id="rId8" Type="http://schemas.openxmlformats.org/officeDocument/2006/relationships/image" Target="../media/image10.emf"/><Relationship Id="rId9" Type="http://schemas.openxmlformats.org/officeDocument/2006/relationships/image" Target="../media/image11.png"/><Relationship Id="rId10" Type="http://schemas.openxmlformats.org/officeDocument/2006/relationships/image" Target="../media/image12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1" name="Object 13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2775189"/>
              </p:ext>
            </p:extLst>
          </p:nvPr>
        </p:nvGraphicFramePr>
        <p:xfrm>
          <a:off x="1224437" y="352"/>
          <a:ext cx="352" cy="3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38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24437" y="352"/>
                        <a:ext cx="352" cy="35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de-DE" dirty="0"/>
              <a:t>CLIENT Lower Saxony customer orientation transformation </a:t>
            </a:r>
          </a:p>
        </p:txBody>
      </p:sp>
      <p:sp>
        <p:nvSpPr>
          <p:cNvPr id="5" name="5. Source"/>
          <p:cNvSpPr>
            <a:spLocks noChangeArrowheads="1"/>
          </p:cNvSpPr>
          <p:nvPr/>
        </p:nvSpPr>
        <p:spPr bwMode="auto">
          <a:xfrm>
            <a:off x="158781" y="6530620"/>
            <a:ext cx="864510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278768" indent="-278768" defTabSz="926317"/>
            <a:r>
              <a:rPr lang="de-DE" sz="700" dirty="0">
                <a:solidFill>
                  <a:srgbClr val="000000"/>
                </a:solidFill>
                <a:latin typeface="+mn-lt"/>
              </a:rPr>
              <a:t>SOURCE: Client Lower Saxony Customer Orientation project (key contacts: Harald Fanderl, Manuela Martin, Stephanie Lotz)</a:t>
            </a:r>
            <a:endParaRPr lang="en-US" sz="70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6" name="Right Arrow 5"/>
          <p:cNvSpPr>
            <a:spLocks/>
          </p:cNvSpPr>
          <p:nvPr/>
        </p:nvSpPr>
        <p:spPr>
          <a:xfrm>
            <a:off x="1561171" y="1171246"/>
            <a:ext cx="10036097" cy="350782"/>
          </a:xfrm>
          <a:prstGeom prst="rightArrow">
            <a:avLst>
              <a:gd name="adj1" fmla="val 50000"/>
              <a:gd name="adj2" fmla="val 50000"/>
            </a:avLst>
          </a:prstGeom>
          <a:solidFill>
            <a:srgbClr val="96969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888" dirty="0" err="1">
              <a:solidFill>
                <a:schemeClr val="tx1"/>
              </a:solidFill>
            </a:endParaRPr>
          </a:p>
        </p:txBody>
      </p:sp>
      <p:sp>
        <p:nvSpPr>
          <p:cNvPr id="87" name="Rectangle 86"/>
          <p:cNvSpPr>
            <a:spLocks/>
          </p:cNvSpPr>
          <p:nvPr/>
        </p:nvSpPr>
        <p:spPr>
          <a:xfrm>
            <a:off x="6981044" y="1020298"/>
            <a:ext cx="2125534" cy="2531514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de-DE" sz="888" dirty="0" err="1">
              <a:solidFill>
                <a:schemeClr val="tx1"/>
              </a:solidFill>
            </a:endParaRPr>
          </a:p>
        </p:txBody>
      </p:sp>
      <p:sp>
        <p:nvSpPr>
          <p:cNvPr id="165" name="TextBox 164"/>
          <p:cNvSpPr txBox="1">
            <a:spLocks/>
          </p:cNvSpPr>
          <p:nvPr/>
        </p:nvSpPr>
        <p:spPr>
          <a:xfrm>
            <a:off x="7072598" y="1074678"/>
            <a:ext cx="1823639" cy="4918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4171950">
              <a:buClr>
                <a:schemeClr val="tx2"/>
              </a:buClr>
              <a:defRPr sz="6000" b="1">
                <a:latin typeface="+mn-lt"/>
              </a:defRPr>
            </a:lvl1pPr>
            <a:lvl2pPr marL="903288" indent="-896938" defTabSz="4171950">
              <a:buClr>
                <a:schemeClr val="tx2"/>
              </a:buClr>
              <a:buSzPct val="125000"/>
              <a:buFont typeface="Arial" charset="0"/>
              <a:buChar char="▪"/>
              <a:defRPr sz="4000"/>
            </a:lvl2pPr>
            <a:lvl3pPr marL="2130425" indent="-1220788" defTabSz="4171950">
              <a:buClr>
                <a:schemeClr val="tx2"/>
              </a:buClr>
              <a:buSzPct val="120000"/>
              <a:buFont typeface="Arial" charset="0"/>
              <a:buChar char="–"/>
              <a:defRPr sz="4000"/>
            </a:lvl3pPr>
            <a:lvl4pPr marL="2863850" indent="-725488" defTabSz="4171950">
              <a:buClr>
                <a:schemeClr val="tx2"/>
              </a:buClr>
              <a:buSzPct val="120000"/>
              <a:buFont typeface="Arial" charset="0"/>
              <a:buChar char="▫"/>
              <a:defRPr sz="4000"/>
            </a:lvl4pPr>
            <a:lvl5pPr marL="3476625" indent="-606425" defTabSz="4171950">
              <a:buClr>
                <a:schemeClr val="tx2"/>
              </a:buClr>
              <a:buSzPct val="89000"/>
              <a:buFont typeface="Arial" charset="0"/>
              <a:buChar char="-"/>
              <a:defRPr sz="4000"/>
            </a:lvl5pPr>
            <a:lvl6pPr marL="39338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6pPr>
            <a:lvl7pPr marL="43910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7pPr>
            <a:lvl8pPr marL="48482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8pPr>
            <a:lvl9pPr marL="53054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9pPr>
          </a:lstStyle>
          <a:p>
            <a:r>
              <a:rPr lang="de-DE" sz="1598" b="0" dirty="0">
                <a:solidFill>
                  <a:schemeClr val="bg1"/>
                </a:solidFill>
              </a:rPr>
              <a:t>Change ways</a:t>
            </a:r>
            <a:r>
              <a:rPr sz="1332"/>
              <a:t/>
            </a:r>
            <a:br>
              <a:rPr sz="1332"/>
            </a:br>
            <a:r>
              <a:rPr lang="de-DE" sz="1598" b="0" dirty="0">
                <a:solidFill>
                  <a:schemeClr val="bg1"/>
                </a:solidFill>
              </a:rPr>
              <a:t>of working</a:t>
            </a:r>
            <a:endParaRPr lang="en-US" sz="1598" b="0" dirty="0">
              <a:solidFill>
                <a:schemeClr val="bg1"/>
              </a:solidFill>
            </a:endParaRPr>
          </a:p>
        </p:txBody>
      </p:sp>
      <p:sp>
        <p:nvSpPr>
          <p:cNvPr id="166" name="TextBox 165"/>
          <p:cNvSpPr txBox="1">
            <a:spLocks/>
          </p:cNvSpPr>
          <p:nvPr/>
        </p:nvSpPr>
        <p:spPr>
          <a:xfrm>
            <a:off x="7072598" y="2808010"/>
            <a:ext cx="1951179" cy="6832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4171950">
              <a:buClr>
                <a:schemeClr val="tx2"/>
              </a:buClr>
              <a:defRPr sz="6000" b="1">
                <a:latin typeface="+mn-lt"/>
              </a:defRPr>
            </a:lvl1pPr>
            <a:lvl2pPr marL="903288" indent="-896938" defTabSz="4171950">
              <a:buClr>
                <a:schemeClr val="tx2"/>
              </a:buClr>
              <a:buSzPct val="125000"/>
              <a:buFont typeface="Arial" charset="0"/>
              <a:buChar char="▪"/>
              <a:defRPr sz="4000"/>
            </a:lvl2pPr>
            <a:lvl3pPr marL="2130425" indent="-1220788" defTabSz="4171950">
              <a:buClr>
                <a:schemeClr val="tx2"/>
              </a:buClr>
              <a:buSzPct val="120000"/>
              <a:buFont typeface="Arial" charset="0"/>
              <a:buChar char="–"/>
              <a:defRPr sz="4000"/>
            </a:lvl3pPr>
            <a:lvl4pPr marL="2863850" indent="-725488" defTabSz="4171950">
              <a:buClr>
                <a:schemeClr val="tx2"/>
              </a:buClr>
              <a:buSzPct val="120000"/>
              <a:buFont typeface="Arial" charset="0"/>
              <a:buChar char="▫"/>
              <a:defRPr sz="4000"/>
            </a:lvl4pPr>
            <a:lvl5pPr marL="3476625" indent="-606425" defTabSz="4171950">
              <a:buClr>
                <a:schemeClr val="tx2"/>
              </a:buClr>
              <a:buSzPct val="89000"/>
              <a:buFont typeface="Arial" charset="0"/>
              <a:buChar char="-"/>
              <a:defRPr sz="4000"/>
            </a:lvl5pPr>
            <a:lvl6pPr marL="39338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6pPr>
            <a:lvl7pPr marL="43910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7pPr>
            <a:lvl8pPr marL="48482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8pPr>
            <a:lvl9pPr marL="53054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9pPr>
          </a:lstStyle>
          <a:p>
            <a:r>
              <a:rPr lang="de-DE" sz="1110" b="0" dirty="0">
                <a:solidFill>
                  <a:schemeClr val="bg1"/>
                </a:solidFill>
              </a:rPr>
              <a:t>Develop and implement actions together with the teams (e.g., call center, sickness benefits, complaints divisions)</a:t>
            </a:r>
          </a:p>
        </p:txBody>
      </p:sp>
      <p:sp>
        <p:nvSpPr>
          <p:cNvPr id="86" name="Rectangle 85"/>
          <p:cNvSpPr>
            <a:spLocks/>
          </p:cNvSpPr>
          <p:nvPr/>
        </p:nvSpPr>
        <p:spPr>
          <a:xfrm>
            <a:off x="4337486" y="1020298"/>
            <a:ext cx="2433217" cy="2531514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de-DE" sz="888" dirty="0" err="1">
              <a:solidFill>
                <a:schemeClr val="tx1"/>
              </a:solidFill>
            </a:endParaRPr>
          </a:p>
        </p:txBody>
      </p:sp>
      <p:sp>
        <p:nvSpPr>
          <p:cNvPr id="163" name="TextBox 162"/>
          <p:cNvSpPr txBox="1">
            <a:spLocks/>
          </p:cNvSpPr>
          <p:nvPr/>
        </p:nvSpPr>
        <p:spPr>
          <a:xfrm>
            <a:off x="4658915" y="1074678"/>
            <a:ext cx="2159848" cy="2459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4171950">
              <a:buClr>
                <a:schemeClr val="tx2"/>
              </a:buClr>
              <a:defRPr sz="6000" b="1">
                <a:latin typeface="+mn-lt"/>
              </a:defRPr>
            </a:lvl1pPr>
            <a:lvl2pPr marL="903288" indent="-896938" defTabSz="4171950">
              <a:buClr>
                <a:schemeClr val="tx2"/>
              </a:buClr>
              <a:buSzPct val="125000"/>
              <a:buFont typeface="Arial" charset="0"/>
              <a:buChar char="▪"/>
              <a:defRPr sz="4000"/>
            </a:lvl2pPr>
            <a:lvl3pPr marL="2130425" indent="-1220788" defTabSz="4171950">
              <a:buClr>
                <a:schemeClr val="tx2"/>
              </a:buClr>
              <a:buSzPct val="120000"/>
              <a:buFont typeface="Arial" charset="0"/>
              <a:buChar char="–"/>
              <a:defRPr sz="4000"/>
            </a:lvl3pPr>
            <a:lvl4pPr marL="2863850" indent="-725488" defTabSz="4171950">
              <a:buClr>
                <a:schemeClr val="tx2"/>
              </a:buClr>
              <a:buSzPct val="120000"/>
              <a:buFont typeface="Arial" charset="0"/>
              <a:buChar char="▫"/>
              <a:defRPr sz="4000"/>
            </a:lvl4pPr>
            <a:lvl5pPr marL="3476625" indent="-606425" defTabSz="4171950">
              <a:buClr>
                <a:schemeClr val="tx2"/>
              </a:buClr>
              <a:buSzPct val="89000"/>
              <a:buFont typeface="Arial" charset="0"/>
              <a:buChar char="-"/>
              <a:defRPr sz="4000"/>
            </a:lvl5pPr>
            <a:lvl6pPr marL="39338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6pPr>
            <a:lvl7pPr marL="43910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7pPr>
            <a:lvl8pPr marL="48482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8pPr>
            <a:lvl9pPr marL="53054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9pPr>
          </a:lstStyle>
          <a:p>
            <a:r>
              <a:rPr lang="de-DE" sz="1598" b="0" smtClean="0">
                <a:solidFill>
                  <a:schemeClr val="bg1"/>
                </a:solidFill>
              </a:rPr>
              <a:t>Mobilize</a:t>
            </a:r>
            <a:r>
              <a:rPr lang="en-US" sz="1332" dirty="0" smtClean="0"/>
              <a:t> </a:t>
            </a:r>
            <a:r>
              <a:rPr lang="de-DE" sz="1598" b="0" dirty="0" err="1" smtClean="0">
                <a:solidFill>
                  <a:schemeClr val="bg1"/>
                </a:solidFill>
              </a:rPr>
              <a:t>employees</a:t>
            </a:r>
            <a:endParaRPr lang="en-US" sz="1598" b="0" dirty="0">
              <a:solidFill>
                <a:schemeClr val="bg1"/>
              </a:solidFill>
            </a:endParaRPr>
          </a:p>
        </p:txBody>
      </p:sp>
      <p:sp>
        <p:nvSpPr>
          <p:cNvPr id="164" name="TextBox 163"/>
          <p:cNvSpPr txBox="1">
            <a:spLocks/>
          </p:cNvSpPr>
          <p:nvPr/>
        </p:nvSpPr>
        <p:spPr>
          <a:xfrm>
            <a:off x="4382797" y="2718967"/>
            <a:ext cx="2340161" cy="6832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4171950">
              <a:buClr>
                <a:schemeClr val="tx2"/>
              </a:buClr>
              <a:defRPr sz="6000" b="1">
                <a:latin typeface="+mn-lt"/>
              </a:defRPr>
            </a:lvl1pPr>
            <a:lvl2pPr marL="903288" indent="-896938" defTabSz="4171950">
              <a:buClr>
                <a:schemeClr val="tx2"/>
              </a:buClr>
              <a:buSzPct val="125000"/>
              <a:buFont typeface="Arial" charset="0"/>
              <a:buChar char="▪"/>
              <a:defRPr sz="4000"/>
            </a:lvl2pPr>
            <a:lvl3pPr marL="2130425" indent="-1220788" defTabSz="4171950">
              <a:buClr>
                <a:schemeClr val="tx2"/>
              </a:buClr>
              <a:buSzPct val="120000"/>
              <a:buFont typeface="Arial" charset="0"/>
              <a:buChar char="–"/>
              <a:defRPr sz="4000"/>
            </a:lvl3pPr>
            <a:lvl4pPr marL="2863850" indent="-725488" defTabSz="4171950">
              <a:buClr>
                <a:schemeClr val="tx2"/>
              </a:buClr>
              <a:buSzPct val="120000"/>
              <a:buFont typeface="Arial" charset="0"/>
              <a:buChar char="▫"/>
              <a:defRPr sz="4000"/>
            </a:lvl4pPr>
            <a:lvl5pPr marL="3476625" indent="-606425" defTabSz="4171950">
              <a:buClr>
                <a:schemeClr val="tx2"/>
              </a:buClr>
              <a:buSzPct val="89000"/>
              <a:buFont typeface="Arial" charset="0"/>
              <a:buChar char="-"/>
              <a:defRPr sz="4000"/>
            </a:lvl5pPr>
            <a:lvl6pPr marL="39338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6pPr>
            <a:lvl7pPr marL="43910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7pPr>
            <a:lvl8pPr marL="48482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8pPr>
            <a:lvl9pPr marL="53054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9pPr>
          </a:lstStyle>
          <a:p>
            <a:pPr marL="1410" lvl="1" indent="0">
              <a:buNone/>
            </a:pPr>
            <a:r>
              <a:rPr lang="de-DE" sz="1110" dirty="0">
                <a:solidFill>
                  <a:schemeClr val="bg1"/>
                </a:solidFill>
              </a:rPr>
              <a:t>Attune </a:t>
            </a:r>
            <a:r>
              <a:rPr lang="de-DE" sz="1110" b="1" dirty="0">
                <a:solidFill>
                  <a:schemeClr val="bg1"/>
                </a:solidFill>
              </a:rPr>
              <a:t>all 6,500 employees</a:t>
            </a:r>
            <a:r>
              <a:rPr lang="de-DE" sz="1110" dirty="0">
                <a:solidFill>
                  <a:schemeClr val="bg1"/>
                </a:solidFill>
              </a:rPr>
              <a:t> to focusing on customer orientation with high </a:t>
            </a:r>
            <a:r>
              <a:rPr lang="de-DE" sz="1110" dirty="0" err="1">
                <a:solidFill>
                  <a:schemeClr val="bg1"/>
                </a:solidFill>
              </a:rPr>
              <a:t>execu-tive</a:t>
            </a:r>
            <a:r>
              <a:rPr lang="de-DE" sz="1110" dirty="0">
                <a:solidFill>
                  <a:schemeClr val="bg1"/>
                </a:solidFill>
              </a:rPr>
              <a:t> board involvement (in workshops, in the plenary)</a:t>
            </a:r>
            <a:endParaRPr lang="en-US" sz="1110" dirty="0">
              <a:solidFill>
                <a:schemeClr val="bg1"/>
              </a:solidFill>
            </a:endParaRPr>
          </a:p>
        </p:txBody>
      </p:sp>
      <p:sp>
        <p:nvSpPr>
          <p:cNvPr id="88" name="Rectangle 87"/>
          <p:cNvSpPr>
            <a:spLocks/>
          </p:cNvSpPr>
          <p:nvPr/>
        </p:nvSpPr>
        <p:spPr>
          <a:xfrm>
            <a:off x="9253933" y="1020298"/>
            <a:ext cx="1952681" cy="2531514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de-DE" sz="888" dirty="0" err="1">
              <a:solidFill>
                <a:schemeClr val="tx1"/>
              </a:solidFill>
            </a:endParaRPr>
          </a:p>
        </p:txBody>
      </p:sp>
      <p:sp>
        <p:nvSpPr>
          <p:cNvPr id="168" name="TextBox 167"/>
          <p:cNvSpPr txBox="1">
            <a:spLocks/>
          </p:cNvSpPr>
          <p:nvPr/>
        </p:nvSpPr>
        <p:spPr>
          <a:xfrm>
            <a:off x="9343985" y="2823760"/>
            <a:ext cx="1823639" cy="5124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4171950">
              <a:buClr>
                <a:schemeClr val="tx2"/>
              </a:buClr>
              <a:defRPr sz="6000" b="1">
                <a:latin typeface="+mn-lt"/>
              </a:defRPr>
            </a:lvl1pPr>
            <a:lvl2pPr marL="903288" indent="-896938" defTabSz="4171950">
              <a:buClr>
                <a:schemeClr val="tx2"/>
              </a:buClr>
              <a:buSzPct val="125000"/>
              <a:buFont typeface="Arial" charset="0"/>
              <a:buChar char="▪"/>
              <a:defRPr sz="4000"/>
            </a:lvl2pPr>
            <a:lvl3pPr marL="2130425" indent="-1220788" defTabSz="4171950">
              <a:buClr>
                <a:schemeClr val="tx2"/>
              </a:buClr>
              <a:buSzPct val="120000"/>
              <a:buFont typeface="Arial" charset="0"/>
              <a:buChar char="–"/>
              <a:defRPr sz="4000"/>
            </a:lvl3pPr>
            <a:lvl4pPr marL="2863850" indent="-725488" defTabSz="4171950">
              <a:buClr>
                <a:schemeClr val="tx2"/>
              </a:buClr>
              <a:buSzPct val="120000"/>
              <a:buFont typeface="Arial" charset="0"/>
              <a:buChar char="▫"/>
              <a:defRPr sz="4000"/>
            </a:lvl4pPr>
            <a:lvl5pPr marL="3476625" indent="-606425" defTabSz="4171950">
              <a:buClr>
                <a:schemeClr val="tx2"/>
              </a:buClr>
              <a:buSzPct val="89000"/>
              <a:buFont typeface="Arial" charset="0"/>
              <a:buChar char="-"/>
              <a:defRPr sz="4000"/>
            </a:lvl5pPr>
            <a:lvl6pPr marL="39338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6pPr>
            <a:lvl7pPr marL="43910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7pPr>
            <a:lvl8pPr marL="48482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8pPr>
            <a:lvl9pPr marL="53054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9pPr>
          </a:lstStyle>
          <a:p>
            <a:r>
              <a:rPr lang="de-DE" sz="1110" b="0" dirty="0">
                <a:solidFill>
                  <a:schemeClr val="bg1"/>
                </a:solidFill>
              </a:rPr>
              <a:t>Build up a 10-person navigator pool that anchors the new ways of working</a:t>
            </a:r>
            <a:endParaRPr lang="en-US" sz="1110" b="0" dirty="0">
              <a:solidFill>
                <a:schemeClr val="bg1"/>
              </a:solidFill>
            </a:endParaRPr>
          </a:p>
        </p:txBody>
      </p:sp>
      <p:sp>
        <p:nvSpPr>
          <p:cNvPr id="167" name="TextBox 166"/>
          <p:cNvSpPr txBox="1">
            <a:spLocks/>
          </p:cNvSpPr>
          <p:nvPr/>
        </p:nvSpPr>
        <p:spPr>
          <a:xfrm>
            <a:off x="9343985" y="1074678"/>
            <a:ext cx="1823639" cy="4918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4171950">
              <a:buClr>
                <a:schemeClr val="tx2"/>
              </a:buClr>
              <a:defRPr sz="6000" b="1">
                <a:latin typeface="+mn-lt"/>
              </a:defRPr>
            </a:lvl1pPr>
            <a:lvl2pPr marL="903288" indent="-896938" defTabSz="4171950">
              <a:buClr>
                <a:schemeClr val="tx2"/>
              </a:buClr>
              <a:buSzPct val="125000"/>
              <a:buFont typeface="Arial" charset="0"/>
              <a:buChar char="▪"/>
              <a:defRPr sz="4000"/>
            </a:lvl2pPr>
            <a:lvl3pPr marL="2130425" indent="-1220788" defTabSz="4171950">
              <a:buClr>
                <a:schemeClr val="tx2"/>
              </a:buClr>
              <a:buSzPct val="120000"/>
              <a:buFont typeface="Arial" charset="0"/>
              <a:buChar char="–"/>
              <a:defRPr sz="4000"/>
            </a:lvl3pPr>
            <a:lvl4pPr marL="2863850" indent="-725488" defTabSz="4171950">
              <a:buClr>
                <a:schemeClr val="tx2"/>
              </a:buClr>
              <a:buSzPct val="120000"/>
              <a:buFont typeface="Arial" charset="0"/>
              <a:buChar char="▫"/>
              <a:defRPr sz="4000"/>
            </a:lvl4pPr>
            <a:lvl5pPr marL="3476625" indent="-606425" defTabSz="4171950">
              <a:buClr>
                <a:schemeClr val="tx2"/>
              </a:buClr>
              <a:buSzPct val="89000"/>
              <a:buFont typeface="Arial" charset="0"/>
              <a:buChar char="-"/>
              <a:defRPr sz="4000"/>
            </a:lvl5pPr>
            <a:lvl6pPr marL="39338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6pPr>
            <a:lvl7pPr marL="43910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7pPr>
            <a:lvl8pPr marL="48482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8pPr>
            <a:lvl9pPr marL="53054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9pPr>
          </a:lstStyle>
          <a:p>
            <a:r>
              <a:rPr lang="de-DE" sz="1598" b="0" dirty="0">
                <a:solidFill>
                  <a:schemeClr val="bg1"/>
                </a:solidFill>
              </a:rPr>
              <a:t>Ensure </a:t>
            </a:r>
            <a:r>
              <a:rPr sz="1332"/>
              <a:t/>
            </a:r>
            <a:br>
              <a:rPr sz="1332"/>
            </a:br>
            <a:r>
              <a:rPr lang="de-DE" sz="1598" b="0" dirty="0">
                <a:solidFill>
                  <a:schemeClr val="bg1"/>
                </a:solidFill>
              </a:rPr>
              <a:t>sustainability</a:t>
            </a:r>
            <a:endParaRPr lang="en-US" sz="1598" b="0" dirty="0">
              <a:solidFill>
                <a:schemeClr val="bg1"/>
              </a:solidFill>
            </a:endParaRPr>
          </a:p>
        </p:txBody>
      </p:sp>
      <p:sp>
        <p:nvSpPr>
          <p:cNvPr id="159" name="TextBox 158"/>
          <p:cNvSpPr txBox="1">
            <a:spLocks/>
          </p:cNvSpPr>
          <p:nvPr/>
        </p:nvSpPr>
        <p:spPr>
          <a:xfrm>
            <a:off x="9268430" y="721967"/>
            <a:ext cx="506549" cy="2732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defPPr>
              <a:defRPr lang="en-US"/>
            </a:defPPr>
            <a:lvl1pPr defTabSz="4171950">
              <a:buClr>
                <a:schemeClr val="tx2"/>
              </a:buClr>
              <a:defRPr sz="8000" b="0">
                <a:solidFill>
                  <a:srgbClr val="329965"/>
                </a:solidFill>
                <a:latin typeface="+mn-lt"/>
              </a:defRPr>
            </a:lvl1pPr>
            <a:lvl2pPr marL="903288" indent="-896938" defTabSz="4171950">
              <a:buClr>
                <a:schemeClr val="tx2"/>
              </a:buClr>
              <a:buSzPct val="125000"/>
              <a:buFont typeface="Arial" charset="0"/>
              <a:buChar char="▪"/>
              <a:defRPr sz="4000"/>
            </a:lvl2pPr>
            <a:lvl3pPr marL="2130425" indent="-1220788" defTabSz="4171950">
              <a:buClr>
                <a:schemeClr val="tx2"/>
              </a:buClr>
              <a:buSzPct val="120000"/>
              <a:buFont typeface="Arial" charset="0"/>
              <a:buChar char="–"/>
              <a:defRPr sz="4000"/>
            </a:lvl3pPr>
            <a:lvl4pPr marL="2863850" indent="-725488" defTabSz="4171950">
              <a:buClr>
                <a:schemeClr val="tx2"/>
              </a:buClr>
              <a:buSzPct val="120000"/>
              <a:buFont typeface="Arial" charset="0"/>
              <a:buChar char="▫"/>
              <a:defRPr sz="4000"/>
            </a:lvl4pPr>
            <a:lvl5pPr marL="3476625" indent="-606425" defTabSz="4171950">
              <a:buClr>
                <a:schemeClr val="tx2"/>
              </a:buClr>
              <a:buSzPct val="89000"/>
              <a:buFont typeface="Arial" charset="0"/>
              <a:buChar char="-"/>
              <a:defRPr sz="4000"/>
            </a:lvl5pPr>
            <a:lvl6pPr marL="39338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6pPr>
            <a:lvl7pPr marL="43910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7pPr>
            <a:lvl8pPr marL="48482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8pPr>
            <a:lvl9pPr marL="53054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9pPr>
          </a:lstStyle>
          <a:p>
            <a:r>
              <a:rPr sz="1776" dirty="0">
                <a:solidFill>
                  <a:schemeClr val="tx2"/>
                </a:solidFill>
              </a:rPr>
              <a:t>2016</a:t>
            </a:r>
          </a:p>
        </p:txBody>
      </p:sp>
      <p:pic>
        <p:nvPicPr>
          <p:cNvPr id="199" name="Picture 198"/>
          <p:cNvPicPr>
            <a:picLocks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6254" y="1637070"/>
            <a:ext cx="1312833" cy="983110"/>
          </a:xfrm>
          <a:prstGeom prst="rect">
            <a:avLst/>
          </a:prstGeom>
          <a:solidFill>
            <a:schemeClr val="bg1"/>
          </a:solidFill>
          <a:ln w="76200">
            <a:solidFill>
              <a:schemeClr val="bg1"/>
            </a:solidFill>
            <a:tailEnd type="arrow"/>
          </a:ln>
        </p:spPr>
      </p:pic>
      <p:sp>
        <p:nvSpPr>
          <p:cNvPr id="56" name="TextBox 55"/>
          <p:cNvSpPr txBox="1">
            <a:spLocks/>
          </p:cNvSpPr>
          <p:nvPr/>
        </p:nvSpPr>
        <p:spPr>
          <a:xfrm>
            <a:off x="7306254" y="2305814"/>
            <a:ext cx="1312833" cy="314365"/>
          </a:xfrm>
          <a:prstGeom prst="rect">
            <a:avLst/>
          </a:prstGeom>
          <a:solidFill>
            <a:schemeClr val="bg1"/>
          </a:solidFill>
          <a:ln w="76200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wrap="square" lIns="15984" tIns="15984" rIns="15984" bIns="15984" anchor="ctr" anchorCtr="0">
            <a:noAutofit/>
          </a:bodyPr>
          <a:lstStyle>
            <a:defPPr>
              <a:defRPr lang="en-US"/>
            </a:defPPr>
            <a:lvl1pPr defTabSz="4171950">
              <a:buClr>
                <a:schemeClr val="tx2"/>
              </a:buClr>
              <a:defRPr sz="6000" b="1">
                <a:latin typeface="+mn-lt"/>
              </a:defRPr>
            </a:lvl1pPr>
            <a:lvl2pPr marL="903288" indent="-896938" defTabSz="4171950">
              <a:buClr>
                <a:schemeClr val="tx2"/>
              </a:buClr>
              <a:buSzPct val="125000"/>
              <a:buFont typeface="Arial" charset="0"/>
              <a:buChar char="▪"/>
              <a:defRPr sz="4000"/>
            </a:lvl2pPr>
            <a:lvl3pPr marL="2130425" indent="-1220788" defTabSz="4171950">
              <a:buClr>
                <a:schemeClr val="tx2"/>
              </a:buClr>
              <a:buSzPct val="120000"/>
              <a:buFont typeface="Arial" charset="0"/>
              <a:buChar char="–"/>
              <a:defRPr sz="4000"/>
            </a:lvl3pPr>
            <a:lvl4pPr marL="2863850" indent="-725488" defTabSz="4171950">
              <a:buClr>
                <a:schemeClr val="tx2"/>
              </a:buClr>
              <a:buSzPct val="120000"/>
              <a:buFont typeface="Arial" charset="0"/>
              <a:buChar char="▫"/>
              <a:defRPr sz="4000"/>
            </a:lvl4pPr>
            <a:lvl5pPr marL="3476625" indent="-606425" defTabSz="4171950">
              <a:buClr>
                <a:schemeClr val="tx2"/>
              </a:buClr>
              <a:buSzPct val="89000"/>
              <a:buFont typeface="Arial" charset="0"/>
              <a:buChar char="-"/>
              <a:defRPr sz="4000"/>
            </a:lvl5pPr>
            <a:lvl6pPr marL="39338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6pPr>
            <a:lvl7pPr marL="43910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7pPr>
            <a:lvl8pPr marL="48482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8pPr>
            <a:lvl9pPr marL="53054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9pPr>
          </a:lstStyle>
          <a:p>
            <a:pPr algn="ctr"/>
            <a:r>
              <a:rPr lang="de-DE" sz="1110" b="0" dirty="0"/>
              <a:t>Regular meetings</a:t>
            </a:r>
            <a:endParaRPr lang="en-US" sz="1110" b="0" dirty="0"/>
          </a:p>
        </p:txBody>
      </p:sp>
      <p:sp>
        <p:nvSpPr>
          <p:cNvPr id="7" name="Rectangle 6"/>
          <p:cNvSpPr>
            <a:spLocks/>
          </p:cNvSpPr>
          <p:nvPr/>
        </p:nvSpPr>
        <p:spPr>
          <a:xfrm>
            <a:off x="1679013" y="1020298"/>
            <a:ext cx="2448132" cy="2531514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888" dirty="0" err="1">
              <a:solidFill>
                <a:schemeClr val="tx1"/>
              </a:solidFill>
            </a:endParaRPr>
          </a:p>
        </p:txBody>
      </p:sp>
      <p:sp>
        <p:nvSpPr>
          <p:cNvPr id="161" name="TextBox 160"/>
          <p:cNvSpPr txBox="1">
            <a:spLocks/>
          </p:cNvSpPr>
          <p:nvPr/>
        </p:nvSpPr>
        <p:spPr>
          <a:xfrm>
            <a:off x="1769065" y="1074678"/>
            <a:ext cx="1823639" cy="2459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4171950">
              <a:buClr>
                <a:schemeClr val="tx2"/>
              </a:buClr>
              <a:defRPr sz="6000" b="1">
                <a:latin typeface="+mn-lt"/>
              </a:defRPr>
            </a:lvl1pPr>
            <a:lvl2pPr marL="903288" indent="-896938" defTabSz="4171950">
              <a:buClr>
                <a:schemeClr val="tx2"/>
              </a:buClr>
              <a:buSzPct val="125000"/>
              <a:buFont typeface="Arial" charset="0"/>
              <a:buChar char="▪"/>
              <a:defRPr sz="4000"/>
            </a:lvl2pPr>
            <a:lvl3pPr marL="2130425" indent="-1220788" defTabSz="4171950">
              <a:buClr>
                <a:schemeClr val="tx2"/>
              </a:buClr>
              <a:buSzPct val="120000"/>
              <a:buFont typeface="Arial" charset="0"/>
              <a:buChar char="–"/>
              <a:defRPr sz="4000"/>
            </a:lvl3pPr>
            <a:lvl4pPr marL="2863850" indent="-725488" defTabSz="4171950">
              <a:buClr>
                <a:schemeClr val="tx2"/>
              </a:buClr>
              <a:buSzPct val="120000"/>
              <a:buFont typeface="Arial" charset="0"/>
              <a:buChar char="▫"/>
              <a:defRPr sz="4000"/>
            </a:lvl4pPr>
            <a:lvl5pPr marL="3476625" indent="-606425" defTabSz="4171950">
              <a:buClr>
                <a:schemeClr val="tx2"/>
              </a:buClr>
              <a:buSzPct val="89000"/>
              <a:buFont typeface="Arial" charset="0"/>
              <a:buChar char="-"/>
              <a:defRPr sz="4000"/>
            </a:lvl5pPr>
            <a:lvl6pPr marL="39338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6pPr>
            <a:lvl7pPr marL="43910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7pPr>
            <a:lvl8pPr marL="48482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8pPr>
            <a:lvl9pPr marL="53054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9pPr>
          </a:lstStyle>
          <a:p>
            <a:r>
              <a:rPr lang="de-DE" sz="1598" b="0" dirty="0" smtClean="0">
                <a:solidFill>
                  <a:schemeClr val="bg1"/>
                </a:solidFill>
              </a:rPr>
              <a:t>Set</a:t>
            </a:r>
            <a:r>
              <a:rPr lang="en-US" sz="1332" dirty="0" smtClean="0"/>
              <a:t> </a:t>
            </a:r>
            <a:r>
              <a:rPr lang="de-DE" sz="1598" b="0" dirty="0" err="1" smtClean="0">
                <a:solidFill>
                  <a:schemeClr val="bg1"/>
                </a:solidFill>
              </a:rPr>
              <a:t>direction</a:t>
            </a:r>
            <a:endParaRPr lang="en-US" sz="1598" b="0" dirty="0">
              <a:solidFill>
                <a:schemeClr val="bg1"/>
              </a:solidFill>
            </a:endParaRPr>
          </a:p>
        </p:txBody>
      </p:sp>
      <p:sp>
        <p:nvSpPr>
          <p:cNvPr id="162" name="TextBox 161"/>
          <p:cNvSpPr txBox="1">
            <a:spLocks/>
          </p:cNvSpPr>
          <p:nvPr/>
        </p:nvSpPr>
        <p:spPr>
          <a:xfrm>
            <a:off x="1769065" y="2697732"/>
            <a:ext cx="2078106" cy="6832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4171950">
              <a:buClr>
                <a:schemeClr val="tx2"/>
              </a:buClr>
              <a:defRPr sz="6000" b="1">
                <a:latin typeface="+mn-lt"/>
              </a:defRPr>
            </a:lvl1pPr>
            <a:lvl2pPr marL="903288" indent="-896938" defTabSz="4171950">
              <a:buClr>
                <a:schemeClr val="tx2"/>
              </a:buClr>
              <a:buSzPct val="125000"/>
              <a:buFont typeface="Arial" charset="0"/>
              <a:buChar char="▪"/>
              <a:defRPr sz="4000"/>
            </a:lvl2pPr>
            <a:lvl3pPr marL="2130425" indent="-1220788" defTabSz="4171950">
              <a:buClr>
                <a:schemeClr val="tx2"/>
              </a:buClr>
              <a:buSzPct val="120000"/>
              <a:buFont typeface="Arial" charset="0"/>
              <a:buChar char="–"/>
              <a:defRPr sz="4000"/>
            </a:lvl3pPr>
            <a:lvl4pPr marL="2863850" indent="-725488" defTabSz="4171950">
              <a:buClr>
                <a:schemeClr val="tx2"/>
              </a:buClr>
              <a:buSzPct val="120000"/>
              <a:buFont typeface="Arial" charset="0"/>
              <a:buChar char="▫"/>
              <a:defRPr sz="4000"/>
            </a:lvl4pPr>
            <a:lvl5pPr marL="3476625" indent="-606425" defTabSz="4171950">
              <a:buClr>
                <a:schemeClr val="tx2"/>
              </a:buClr>
              <a:buSzPct val="89000"/>
              <a:buFont typeface="Arial" charset="0"/>
              <a:buChar char="-"/>
              <a:defRPr sz="4000"/>
            </a:lvl5pPr>
            <a:lvl6pPr marL="39338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6pPr>
            <a:lvl7pPr marL="43910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7pPr>
            <a:lvl8pPr marL="48482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8pPr>
            <a:lvl9pPr marL="53054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9pPr>
          </a:lstStyle>
          <a:p>
            <a:pPr marL="1410" lvl="1" indent="0">
              <a:buNone/>
            </a:pPr>
            <a:r>
              <a:rPr lang="de-DE" sz="1110" dirty="0">
                <a:solidFill>
                  <a:schemeClr val="bg1"/>
                </a:solidFill>
              </a:rPr>
              <a:t>Develop the value proposition and identify/prioritize the </a:t>
            </a:r>
            <a:r>
              <a:rPr lang="de-DE" sz="1110" b="1" dirty="0">
                <a:solidFill>
                  <a:schemeClr val="bg1"/>
                </a:solidFill>
              </a:rPr>
              <a:t>customer journeys</a:t>
            </a:r>
            <a:r>
              <a:rPr lang="de-DE" sz="1110" dirty="0">
                <a:solidFill>
                  <a:schemeClr val="bg1"/>
                </a:solidFill>
              </a:rPr>
              <a:t> based on intensive market research</a:t>
            </a:r>
          </a:p>
        </p:txBody>
      </p:sp>
      <p:sp>
        <p:nvSpPr>
          <p:cNvPr id="150" name="TextBox 149"/>
          <p:cNvSpPr txBox="1">
            <a:spLocks/>
          </p:cNvSpPr>
          <p:nvPr/>
        </p:nvSpPr>
        <p:spPr>
          <a:xfrm>
            <a:off x="1679013" y="721967"/>
            <a:ext cx="506549" cy="2732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defPPr>
              <a:defRPr lang="en-US"/>
            </a:defPPr>
            <a:lvl1pPr defTabSz="4171950">
              <a:buClr>
                <a:schemeClr val="tx2"/>
              </a:buClr>
              <a:defRPr sz="6000" b="1">
                <a:latin typeface="+mn-lt"/>
              </a:defRPr>
            </a:lvl1pPr>
            <a:lvl2pPr marL="903288" indent="-896938" defTabSz="4171950">
              <a:buClr>
                <a:schemeClr val="tx2"/>
              </a:buClr>
              <a:buSzPct val="125000"/>
              <a:buFont typeface="Arial" charset="0"/>
              <a:buChar char="▪"/>
              <a:defRPr sz="4000"/>
            </a:lvl2pPr>
            <a:lvl3pPr marL="2130425" indent="-1220788" defTabSz="4171950">
              <a:buClr>
                <a:schemeClr val="tx2"/>
              </a:buClr>
              <a:buSzPct val="120000"/>
              <a:buFont typeface="Arial" charset="0"/>
              <a:buChar char="–"/>
              <a:defRPr sz="4000"/>
            </a:lvl3pPr>
            <a:lvl4pPr marL="2863850" indent="-725488" defTabSz="4171950">
              <a:buClr>
                <a:schemeClr val="tx2"/>
              </a:buClr>
              <a:buSzPct val="120000"/>
              <a:buFont typeface="Arial" charset="0"/>
              <a:buChar char="▫"/>
              <a:defRPr sz="4000"/>
            </a:lvl4pPr>
            <a:lvl5pPr marL="3476625" indent="-606425" defTabSz="4171950">
              <a:buClr>
                <a:schemeClr val="tx2"/>
              </a:buClr>
              <a:buSzPct val="89000"/>
              <a:buFont typeface="Arial" charset="0"/>
              <a:buChar char="-"/>
              <a:defRPr sz="4000"/>
            </a:lvl5pPr>
            <a:lvl6pPr marL="39338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6pPr>
            <a:lvl7pPr marL="43910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7pPr>
            <a:lvl8pPr marL="48482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8pPr>
            <a:lvl9pPr marL="53054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9pPr>
          </a:lstStyle>
          <a:p>
            <a:r>
              <a:rPr lang="de-DE" sz="1776" b="0" dirty="0">
                <a:solidFill>
                  <a:schemeClr val="tx2"/>
                </a:solidFill>
              </a:rPr>
              <a:t>2013</a:t>
            </a:r>
            <a:endParaRPr lang="en-US" sz="1776" b="0" dirty="0">
              <a:solidFill>
                <a:schemeClr val="tx2"/>
              </a:solidFill>
            </a:endParaRPr>
          </a:p>
        </p:txBody>
      </p:sp>
      <p:pic>
        <p:nvPicPr>
          <p:cNvPr id="169" name="Picture 168"/>
          <p:cNvPicPr>
            <a:picLocks/>
          </p:cNvPicPr>
          <p:nvPr/>
        </p:nvPicPr>
        <p:blipFill>
          <a:blip r:embed="rId8"/>
          <a:stretch>
            <a:fillRect/>
          </a:stretch>
        </p:blipFill>
        <p:spPr>
          <a:xfrm>
            <a:off x="1973724" y="1637070"/>
            <a:ext cx="1312833" cy="983110"/>
          </a:xfrm>
          <a:prstGeom prst="rect">
            <a:avLst/>
          </a:prstGeom>
          <a:solidFill>
            <a:schemeClr val="bg1"/>
          </a:solidFill>
          <a:ln w="76200">
            <a:solidFill>
              <a:schemeClr val="bg1"/>
            </a:solidFill>
            <a:tailEnd type="arrow"/>
          </a:ln>
        </p:spPr>
      </p:pic>
      <p:sp>
        <p:nvSpPr>
          <p:cNvPr id="57" name="TextBox 56"/>
          <p:cNvSpPr txBox="1">
            <a:spLocks/>
          </p:cNvSpPr>
          <p:nvPr/>
        </p:nvSpPr>
        <p:spPr>
          <a:xfrm>
            <a:off x="1973724" y="2305814"/>
            <a:ext cx="1312833" cy="314365"/>
          </a:xfrm>
          <a:prstGeom prst="rect">
            <a:avLst/>
          </a:prstGeom>
          <a:solidFill>
            <a:schemeClr val="bg1"/>
          </a:solidFill>
          <a:ln w="76200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wrap="square" lIns="15984" tIns="15984" rIns="15984" bIns="15984" anchor="ctr" anchorCtr="0">
            <a:noAutofit/>
          </a:bodyPr>
          <a:lstStyle>
            <a:defPPr>
              <a:defRPr lang="en-US"/>
            </a:defPPr>
            <a:lvl1pPr defTabSz="4171950">
              <a:buClr>
                <a:schemeClr val="tx2"/>
              </a:buClr>
              <a:defRPr sz="6000" b="1">
                <a:latin typeface="+mn-lt"/>
              </a:defRPr>
            </a:lvl1pPr>
            <a:lvl2pPr marL="903288" indent="-896938" defTabSz="4171950">
              <a:buClr>
                <a:schemeClr val="tx2"/>
              </a:buClr>
              <a:buSzPct val="125000"/>
              <a:buFont typeface="Arial" charset="0"/>
              <a:buChar char="▪"/>
              <a:defRPr sz="4000"/>
            </a:lvl2pPr>
            <a:lvl3pPr marL="2130425" indent="-1220788" defTabSz="4171950">
              <a:buClr>
                <a:schemeClr val="tx2"/>
              </a:buClr>
              <a:buSzPct val="120000"/>
              <a:buFont typeface="Arial" charset="0"/>
              <a:buChar char="–"/>
              <a:defRPr sz="4000"/>
            </a:lvl3pPr>
            <a:lvl4pPr marL="2863850" indent="-725488" defTabSz="4171950">
              <a:buClr>
                <a:schemeClr val="tx2"/>
              </a:buClr>
              <a:buSzPct val="120000"/>
              <a:buFont typeface="Arial" charset="0"/>
              <a:buChar char="▫"/>
              <a:defRPr sz="4000"/>
            </a:lvl4pPr>
            <a:lvl5pPr marL="3476625" indent="-606425" defTabSz="4171950">
              <a:buClr>
                <a:schemeClr val="tx2"/>
              </a:buClr>
              <a:buSzPct val="89000"/>
              <a:buFont typeface="Arial" charset="0"/>
              <a:buChar char="-"/>
              <a:defRPr sz="4000"/>
            </a:lvl5pPr>
            <a:lvl6pPr marL="39338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6pPr>
            <a:lvl7pPr marL="43910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7pPr>
            <a:lvl8pPr marL="48482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8pPr>
            <a:lvl9pPr marL="53054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9pPr>
          </a:lstStyle>
          <a:p>
            <a:pPr algn="ctr"/>
            <a:r>
              <a:rPr lang="de-DE" sz="1110" b="0" dirty="0"/>
              <a:t>Analyses</a:t>
            </a:r>
            <a:endParaRPr lang="en-US" sz="1110" b="0" dirty="0"/>
          </a:p>
        </p:txBody>
      </p:sp>
      <p:pic>
        <p:nvPicPr>
          <p:cNvPr id="170" name="Picture 169"/>
          <p:cNvPicPr>
            <a:picLocks/>
          </p:cNvPicPr>
          <p:nvPr/>
        </p:nvPicPr>
        <p:blipFill rotWithShape="1">
          <a:blip r:embed="rId9"/>
          <a:srcRect l="14008" t="8871" r="11830" b="14150"/>
          <a:stretch/>
        </p:blipFill>
        <p:spPr>
          <a:xfrm>
            <a:off x="4914318" y="1637070"/>
            <a:ext cx="1312833" cy="983110"/>
          </a:xfrm>
          <a:prstGeom prst="rect">
            <a:avLst/>
          </a:prstGeom>
          <a:solidFill>
            <a:schemeClr val="bg1"/>
          </a:solidFill>
          <a:ln w="76200">
            <a:solidFill>
              <a:schemeClr val="bg1"/>
            </a:solidFill>
            <a:tailEnd type="arrow"/>
          </a:ln>
        </p:spPr>
      </p:pic>
      <p:sp>
        <p:nvSpPr>
          <p:cNvPr id="58" name="TextBox 57"/>
          <p:cNvSpPr txBox="1">
            <a:spLocks/>
          </p:cNvSpPr>
          <p:nvPr/>
        </p:nvSpPr>
        <p:spPr>
          <a:xfrm>
            <a:off x="4914318" y="2305814"/>
            <a:ext cx="1312833" cy="314365"/>
          </a:xfrm>
          <a:prstGeom prst="rect">
            <a:avLst/>
          </a:prstGeom>
          <a:solidFill>
            <a:schemeClr val="bg1"/>
          </a:solidFill>
          <a:ln w="76200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wrap="square" lIns="15984" tIns="15984" rIns="15984" bIns="15984" anchor="ctr" anchorCtr="0">
            <a:noAutofit/>
          </a:bodyPr>
          <a:lstStyle>
            <a:defPPr>
              <a:defRPr lang="en-US"/>
            </a:defPPr>
            <a:lvl1pPr defTabSz="4171950">
              <a:buClr>
                <a:schemeClr val="tx2"/>
              </a:buClr>
              <a:defRPr sz="6000" b="1">
                <a:latin typeface="+mn-lt"/>
              </a:defRPr>
            </a:lvl1pPr>
            <a:lvl2pPr marL="903288" indent="-896938" defTabSz="4171950">
              <a:buClr>
                <a:schemeClr val="tx2"/>
              </a:buClr>
              <a:buSzPct val="125000"/>
              <a:buFont typeface="Arial" charset="0"/>
              <a:buChar char="▪"/>
              <a:defRPr sz="4000"/>
            </a:lvl2pPr>
            <a:lvl3pPr marL="2130425" indent="-1220788" defTabSz="4171950">
              <a:buClr>
                <a:schemeClr val="tx2"/>
              </a:buClr>
              <a:buSzPct val="120000"/>
              <a:buFont typeface="Arial" charset="0"/>
              <a:buChar char="–"/>
              <a:defRPr sz="4000"/>
            </a:lvl3pPr>
            <a:lvl4pPr marL="2863850" indent="-725488" defTabSz="4171950">
              <a:buClr>
                <a:schemeClr val="tx2"/>
              </a:buClr>
              <a:buSzPct val="120000"/>
              <a:buFont typeface="Arial" charset="0"/>
              <a:buChar char="▫"/>
              <a:defRPr sz="4000"/>
            </a:lvl4pPr>
            <a:lvl5pPr marL="3476625" indent="-606425" defTabSz="4171950">
              <a:buClr>
                <a:schemeClr val="tx2"/>
              </a:buClr>
              <a:buSzPct val="89000"/>
              <a:buFont typeface="Arial" charset="0"/>
              <a:buChar char="-"/>
              <a:defRPr sz="4000"/>
            </a:lvl5pPr>
            <a:lvl6pPr marL="39338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6pPr>
            <a:lvl7pPr marL="43910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7pPr>
            <a:lvl8pPr marL="48482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8pPr>
            <a:lvl9pPr marL="53054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9pPr>
          </a:lstStyle>
          <a:p>
            <a:pPr algn="ctr"/>
            <a:r>
              <a:rPr lang="de-DE" sz="1110" b="0" dirty="0"/>
              <a:t>TUI Arena</a:t>
            </a:r>
            <a:endParaRPr lang="en-US" sz="1110" b="0" dirty="0"/>
          </a:p>
        </p:txBody>
      </p:sp>
      <p:pic>
        <p:nvPicPr>
          <p:cNvPr id="192" name="Picture 191"/>
          <p:cNvPicPr>
            <a:picLocks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440" b="-21440"/>
          <a:stretch/>
        </p:blipFill>
        <p:spPr>
          <a:xfrm>
            <a:off x="9548644" y="1645201"/>
            <a:ext cx="1312833" cy="983110"/>
          </a:xfrm>
          <a:prstGeom prst="rect">
            <a:avLst/>
          </a:prstGeom>
          <a:solidFill>
            <a:schemeClr val="bg1"/>
          </a:solidFill>
          <a:ln w="76200">
            <a:solidFill>
              <a:schemeClr val="bg1"/>
            </a:solidFill>
            <a:tailEnd type="arrow"/>
          </a:ln>
        </p:spPr>
      </p:pic>
      <p:sp>
        <p:nvSpPr>
          <p:cNvPr id="59" name="TextBox 58"/>
          <p:cNvSpPr txBox="1">
            <a:spLocks/>
          </p:cNvSpPr>
          <p:nvPr/>
        </p:nvSpPr>
        <p:spPr>
          <a:xfrm>
            <a:off x="9548644" y="2305814"/>
            <a:ext cx="1312833" cy="314365"/>
          </a:xfrm>
          <a:prstGeom prst="rect">
            <a:avLst/>
          </a:prstGeom>
          <a:solidFill>
            <a:schemeClr val="bg1"/>
          </a:solidFill>
          <a:ln w="76200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wrap="square" lIns="15984" tIns="15984" rIns="15984" bIns="15984" anchor="ctr" anchorCtr="0">
            <a:noAutofit/>
          </a:bodyPr>
          <a:lstStyle>
            <a:defPPr>
              <a:defRPr lang="en-US"/>
            </a:defPPr>
            <a:lvl1pPr defTabSz="4171950">
              <a:buClr>
                <a:schemeClr val="tx2"/>
              </a:buClr>
              <a:defRPr sz="6000" b="1">
                <a:latin typeface="+mn-lt"/>
              </a:defRPr>
            </a:lvl1pPr>
            <a:lvl2pPr marL="903288" indent="-896938" defTabSz="4171950">
              <a:buClr>
                <a:schemeClr val="tx2"/>
              </a:buClr>
              <a:buSzPct val="125000"/>
              <a:buFont typeface="Arial" charset="0"/>
              <a:buChar char="▪"/>
              <a:defRPr sz="4000"/>
            </a:lvl2pPr>
            <a:lvl3pPr marL="2130425" indent="-1220788" defTabSz="4171950">
              <a:buClr>
                <a:schemeClr val="tx2"/>
              </a:buClr>
              <a:buSzPct val="120000"/>
              <a:buFont typeface="Arial" charset="0"/>
              <a:buChar char="–"/>
              <a:defRPr sz="4000"/>
            </a:lvl3pPr>
            <a:lvl4pPr marL="2863850" indent="-725488" defTabSz="4171950">
              <a:buClr>
                <a:schemeClr val="tx2"/>
              </a:buClr>
              <a:buSzPct val="120000"/>
              <a:buFont typeface="Arial" charset="0"/>
              <a:buChar char="▫"/>
              <a:defRPr sz="4000"/>
            </a:lvl4pPr>
            <a:lvl5pPr marL="3476625" indent="-606425" defTabSz="4171950">
              <a:buClr>
                <a:schemeClr val="tx2"/>
              </a:buClr>
              <a:buSzPct val="89000"/>
              <a:buFont typeface="Arial" charset="0"/>
              <a:buChar char="-"/>
              <a:defRPr sz="4000"/>
            </a:lvl5pPr>
            <a:lvl6pPr marL="39338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6pPr>
            <a:lvl7pPr marL="43910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7pPr>
            <a:lvl8pPr marL="48482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8pPr>
            <a:lvl9pPr marL="53054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9pPr>
          </a:lstStyle>
          <a:p>
            <a:pPr algn="ctr"/>
            <a:r>
              <a:rPr lang="de-DE" sz="1110" b="0" dirty="0"/>
              <a:t>Navigator training</a:t>
            </a:r>
            <a:endParaRPr lang="en-US" sz="1110" b="0" dirty="0"/>
          </a:p>
        </p:txBody>
      </p:sp>
      <p:sp>
        <p:nvSpPr>
          <p:cNvPr id="90" name="Rectangle 89"/>
          <p:cNvSpPr>
            <a:spLocks/>
          </p:cNvSpPr>
          <p:nvPr/>
        </p:nvSpPr>
        <p:spPr>
          <a:xfrm>
            <a:off x="2167607" y="3633693"/>
            <a:ext cx="8457327" cy="2796096"/>
          </a:xfrm>
          <a:prstGeom prst="rect">
            <a:avLst/>
          </a:prstGeom>
          <a:solidFill>
            <a:srgbClr val="E6E6E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888" dirty="0" err="1">
              <a:solidFill>
                <a:schemeClr val="tx1"/>
              </a:solidFill>
            </a:endParaRPr>
          </a:p>
        </p:txBody>
      </p:sp>
      <p:sp>
        <p:nvSpPr>
          <p:cNvPr id="91" name="TextBox 90"/>
          <p:cNvSpPr txBox="1">
            <a:spLocks/>
          </p:cNvSpPr>
          <p:nvPr/>
        </p:nvSpPr>
        <p:spPr>
          <a:xfrm>
            <a:off x="287798" y="869131"/>
            <a:ext cx="1080687" cy="2459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4171950">
              <a:buClr>
                <a:schemeClr val="tx2"/>
              </a:buClr>
              <a:defRPr sz="6000" b="1">
                <a:latin typeface="+mn-lt"/>
              </a:defRPr>
            </a:lvl1pPr>
            <a:lvl2pPr marL="903288" indent="-896938" defTabSz="4171950">
              <a:buClr>
                <a:schemeClr val="tx2"/>
              </a:buClr>
              <a:buSzPct val="125000"/>
              <a:buFont typeface="Arial" charset="0"/>
              <a:buChar char="▪"/>
              <a:defRPr sz="4000"/>
            </a:lvl2pPr>
            <a:lvl3pPr marL="2130425" indent="-1220788" defTabSz="4171950">
              <a:buClr>
                <a:schemeClr val="tx2"/>
              </a:buClr>
              <a:buSzPct val="120000"/>
              <a:buFont typeface="Arial" charset="0"/>
              <a:buChar char="–"/>
              <a:defRPr sz="4000"/>
            </a:lvl3pPr>
            <a:lvl4pPr marL="2863850" indent="-725488" defTabSz="4171950">
              <a:buClr>
                <a:schemeClr val="tx2"/>
              </a:buClr>
              <a:buSzPct val="120000"/>
              <a:buFont typeface="Arial" charset="0"/>
              <a:buChar char="▫"/>
              <a:defRPr sz="4000"/>
            </a:lvl4pPr>
            <a:lvl5pPr marL="3476625" indent="-606425" defTabSz="4171950">
              <a:buClr>
                <a:schemeClr val="tx2"/>
              </a:buClr>
              <a:buSzPct val="89000"/>
              <a:buFont typeface="Arial" charset="0"/>
              <a:buChar char="-"/>
              <a:defRPr sz="4000"/>
            </a:lvl5pPr>
            <a:lvl6pPr marL="39338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6pPr>
            <a:lvl7pPr marL="43910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7pPr>
            <a:lvl8pPr marL="48482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8pPr>
            <a:lvl9pPr marL="53054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9pPr>
          </a:lstStyle>
          <a:p>
            <a:r>
              <a:rPr lang="de-DE" sz="1598" dirty="0" smtClean="0">
                <a:solidFill>
                  <a:schemeClr val="tx2"/>
                </a:solidFill>
              </a:rPr>
              <a:t>Approach</a:t>
            </a:r>
            <a:endParaRPr lang="en-US" sz="1598" dirty="0">
              <a:solidFill>
                <a:schemeClr val="tx2"/>
              </a:solidFill>
            </a:endParaRPr>
          </a:p>
        </p:txBody>
      </p:sp>
      <p:sp>
        <p:nvSpPr>
          <p:cNvPr id="92" name="TextBox 91"/>
          <p:cNvSpPr txBox="1">
            <a:spLocks/>
          </p:cNvSpPr>
          <p:nvPr/>
        </p:nvSpPr>
        <p:spPr>
          <a:xfrm>
            <a:off x="620997" y="3633693"/>
            <a:ext cx="662041" cy="2459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 defTabSz="4171950">
              <a:buClr>
                <a:schemeClr val="tx2"/>
              </a:buClr>
              <a:defRPr sz="6000" b="1">
                <a:latin typeface="+mn-lt"/>
              </a:defRPr>
            </a:lvl1pPr>
            <a:lvl2pPr marL="903288" indent="-896938" defTabSz="4171950">
              <a:buClr>
                <a:schemeClr val="tx2"/>
              </a:buClr>
              <a:buSzPct val="125000"/>
              <a:buFont typeface="Arial" charset="0"/>
              <a:buChar char="▪"/>
              <a:defRPr sz="4000"/>
            </a:lvl2pPr>
            <a:lvl3pPr marL="2130425" indent="-1220788" defTabSz="4171950">
              <a:buClr>
                <a:schemeClr val="tx2"/>
              </a:buClr>
              <a:buSzPct val="120000"/>
              <a:buFont typeface="Arial" charset="0"/>
              <a:buChar char="–"/>
              <a:defRPr sz="4000"/>
            </a:lvl3pPr>
            <a:lvl4pPr marL="2863850" indent="-725488" defTabSz="4171950">
              <a:buClr>
                <a:schemeClr val="tx2"/>
              </a:buClr>
              <a:buSzPct val="120000"/>
              <a:buFont typeface="Arial" charset="0"/>
              <a:buChar char="▫"/>
              <a:defRPr sz="4000"/>
            </a:lvl4pPr>
            <a:lvl5pPr marL="3476625" indent="-606425" defTabSz="4171950">
              <a:buClr>
                <a:schemeClr val="tx2"/>
              </a:buClr>
              <a:buSzPct val="89000"/>
              <a:buFont typeface="Arial" charset="0"/>
              <a:buChar char="-"/>
              <a:defRPr sz="4000"/>
            </a:lvl5pPr>
            <a:lvl6pPr marL="39338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6pPr>
            <a:lvl7pPr marL="43910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7pPr>
            <a:lvl8pPr marL="48482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8pPr>
            <a:lvl9pPr marL="53054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9pPr>
          </a:lstStyle>
          <a:p>
            <a:r>
              <a:rPr lang="de-DE" sz="1598" dirty="0">
                <a:solidFill>
                  <a:schemeClr val="tx2"/>
                </a:solidFill>
              </a:rPr>
              <a:t>Impact</a:t>
            </a:r>
            <a:endParaRPr lang="en-US" sz="1598" dirty="0">
              <a:solidFill>
                <a:schemeClr val="tx2"/>
              </a:solidFill>
            </a:endParaRPr>
          </a:p>
        </p:txBody>
      </p:sp>
      <p:sp>
        <p:nvSpPr>
          <p:cNvPr id="93" name="TextBox 92"/>
          <p:cNvSpPr txBox="1">
            <a:spLocks/>
          </p:cNvSpPr>
          <p:nvPr/>
        </p:nvSpPr>
        <p:spPr>
          <a:xfrm>
            <a:off x="9224186" y="4412346"/>
            <a:ext cx="1128514" cy="2391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 defTabSz="4171950">
              <a:buClr>
                <a:schemeClr val="tx2"/>
              </a:buClr>
              <a:defRPr sz="6000" b="1">
                <a:latin typeface="+mn-lt"/>
              </a:defRPr>
            </a:lvl1pPr>
            <a:lvl2pPr marL="903288" indent="-896938" defTabSz="4171950">
              <a:buClr>
                <a:schemeClr val="tx2"/>
              </a:buClr>
              <a:buSzPct val="125000"/>
              <a:buFont typeface="Arial" charset="0"/>
              <a:buChar char="▪"/>
              <a:defRPr sz="4000"/>
            </a:lvl2pPr>
            <a:lvl3pPr marL="2130425" indent="-1220788" defTabSz="4171950">
              <a:buClr>
                <a:schemeClr val="tx2"/>
              </a:buClr>
              <a:buSzPct val="120000"/>
              <a:buFont typeface="Arial" charset="0"/>
              <a:buChar char="–"/>
              <a:defRPr sz="4000"/>
            </a:lvl3pPr>
            <a:lvl4pPr marL="2863850" indent="-725488" defTabSz="4171950">
              <a:buClr>
                <a:schemeClr val="tx2"/>
              </a:buClr>
              <a:buSzPct val="120000"/>
              <a:buFont typeface="Arial" charset="0"/>
              <a:buChar char="▫"/>
              <a:defRPr sz="4000"/>
            </a:lvl4pPr>
            <a:lvl5pPr marL="3476625" indent="-606425" defTabSz="4171950">
              <a:buClr>
                <a:schemeClr val="tx2"/>
              </a:buClr>
              <a:buSzPct val="89000"/>
              <a:buFont typeface="Arial" charset="0"/>
              <a:buChar char="-"/>
              <a:defRPr sz="4000"/>
            </a:lvl5pPr>
            <a:lvl6pPr marL="39338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6pPr>
            <a:lvl7pPr marL="43910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7pPr>
            <a:lvl8pPr marL="48482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8pPr>
            <a:lvl9pPr marL="53054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9pPr>
          </a:lstStyle>
          <a:p>
            <a:r>
              <a:rPr lang="de-DE" sz="1554" b="0" dirty="0"/>
              <a:t>300 seconds</a:t>
            </a:r>
            <a:endParaRPr lang="en-US" sz="1110" b="0" dirty="0"/>
          </a:p>
        </p:txBody>
      </p:sp>
      <p:sp>
        <p:nvSpPr>
          <p:cNvPr id="99" name="TextBox 98"/>
          <p:cNvSpPr txBox="1">
            <a:spLocks/>
          </p:cNvSpPr>
          <p:nvPr/>
        </p:nvSpPr>
        <p:spPr>
          <a:xfrm>
            <a:off x="7449885" y="4446506"/>
            <a:ext cx="1568837" cy="1708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4171950">
              <a:buClr>
                <a:schemeClr val="tx2"/>
              </a:buClr>
              <a:defRPr sz="6000" b="1">
                <a:latin typeface="+mn-lt"/>
              </a:defRPr>
            </a:lvl1pPr>
            <a:lvl2pPr marL="903288" indent="-896938" defTabSz="4171950">
              <a:buClr>
                <a:schemeClr val="tx2"/>
              </a:buClr>
              <a:buSzPct val="125000"/>
              <a:buFont typeface="Arial" charset="0"/>
              <a:buChar char="▪"/>
              <a:defRPr sz="4000"/>
            </a:lvl2pPr>
            <a:lvl3pPr marL="2130425" indent="-1220788" defTabSz="4171950">
              <a:buClr>
                <a:schemeClr val="tx2"/>
              </a:buClr>
              <a:buSzPct val="120000"/>
              <a:buFont typeface="Arial" charset="0"/>
              <a:buChar char="–"/>
              <a:defRPr sz="4000"/>
            </a:lvl3pPr>
            <a:lvl4pPr marL="2863850" indent="-725488" defTabSz="4171950">
              <a:buClr>
                <a:schemeClr val="tx2"/>
              </a:buClr>
              <a:buSzPct val="120000"/>
              <a:buFont typeface="Arial" charset="0"/>
              <a:buChar char="▫"/>
              <a:defRPr sz="4000"/>
            </a:lvl4pPr>
            <a:lvl5pPr marL="3476625" indent="-606425" defTabSz="4171950">
              <a:buClr>
                <a:schemeClr val="tx2"/>
              </a:buClr>
              <a:buSzPct val="89000"/>
              <a:buFont typeface="Arial" charset="0"/>
              <a:buChar char="-"/>
              <a:defRPr sz="4000"/>
            </a:lvl5pPr>
            <a:lvl6pPr marL="39338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6pPr>
            <a:lvl7pPr marL="43910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7pPr>
            <a:lvl8pPr marL="48482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8pPr>
            <a:lvl9pPr marL="53054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9pPr>
          </a:lstStyle>
          <a:p>
            <a:r>
              <a:rPr lang="de-DE" sz="1110" b="0" dirty="0"/>
              <a:t>Total processing time:</a:t>
            </a:r>
            <a:endParaRPr lang="en-US" sz="1110" b="0" dirty="0"/>
          </a:p>
        </p:txBody>
      </p:sp>
      <p:sp>
        <p:nvSpPr>
          <p:cNvPr id="94" name="TextBox 93"/>
          <p:cNvSpPr txBox="1">
            <a:spLocks/>
          </p:cNvSpPr>
          <p:nvPr/>
        </p:nvSpPr>
        <p:spPr>
          <a:xfrm>
            <a:off x="9224186" y="4636181"/>
            <a:ext cx="1128514" cy="2391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 defTabSz="4171950">
              <a:buClr>
                <a:schemeClr val="tx2"/>
              </a:buClr>
              <a:defRPr sz="8000" b="0">
                <a:latin typeface="+mn-lt"/>
              </a:defRPr>
            </a:lvl1pPr>
            <a:lvl2pPr marL="903288" indent="-896938" defTabSz="4171950">
              <a:buClr>
                <a:schemeClr val="tx2"/>
              </a:buClr>
              <a:buSzPct val="125000"/>
              <a:buFont typeface="Arial" charset="0"/>
              <a:buChar char="▪"/>
              <a:defRPr sz="4000"/>
            </a:lvl2pPr>
            <a:lvl3pPr marL="2130425" indent="-1220788" defTabSz="4171950">
              <a:buClr>
                <a:schemeClr val="tx2"/>
              </a:buClr>
              <a:buSzPct val="120000"/>
              <a:buFont typeface="Arial" charset="0"/>
              <a:buChar char="–"/>
              <a:defRPr sz="4000"/>
            </a:lvl3pPr>
            <a:lvl4pPr marL="2863850" indent="-725488" defTabSz="4171950">
              <a:buClr>
                <a:schemeClr val="tx2"/>
              </a:buClr>
              <a:buSzPct val="120000"/>
              <a:buFont typeface="Arial" charset="0"/>
              <a:buChar char="▫"/>
              <a:defRPr sz="4000"/>
            </a:lvl4pPr>
            <a:lvl5pPr marL="3476625" indent="-606425" defTabSz="4171950">
              <a:buClr>
                <a:schemeClr val="tx2"/>
              </a:buClr>
              <a:buSzPct val="89000"/>
              <a:buFont typeface="Arial" charset="0"/>
              <a:buChar char="-"/>
              <a:defRPr sz="4000"/>
            </a:lvl5pPr>
            <a:lvl6pPr marL="39338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6pPr>
            <a:lvl7pPr marL="43910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7pPr>
            <a:lvl8pPr marL="48482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8pPr>
            <a:lvl9pPr marL="53054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9pPr>
          </a:lstStyle>
          <a:p>
            <a:r>
              <a:rPr lang="de-DE" sz="1554" dirty="0"/>
              <a:t>150 seconds</a:t>
            </a:r>
          </a:p>
        </p:txBody>
      </p:sp>
      <p:sp>
        <p:nvSpPr>
          <p:cNvPr id="100" name="TextBox 99"/>
          <p:cNvSpPr txBox="1">
            <a:spLocks/>
          </p:cNvSpPr>
          <p:nvPr/>
        </p:nvSpPr>
        <p:spPr>
          <a:xfrm>
            <a:off x="7449885" y="4670342"/>
            <a:ext cx="1568837" cy="1708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4171950">
              <a:buClr>
                <a:schemeClr val="tx2"/>
              </a:buClr>
              <a:defRPr sz="6000" b="1">
                <a:latin typeface="+mn-lt"/>
              </a:defRPr>
            </a:lvl1pPr>
            <a:lvl2pPr marL="903288" indent="-896938" defTabSz="4171950">
              <a:buClr>
                <a:schemeClr val="tx2"/>
              </a:buClr>
              <a:buSzPct val="125000"/>
              <a:buFont typeface="Arial" charset="0"/>
              <a:buChar char="▪"/>
              <a:defRPr sz="4000"/>
            </a:lvl2pPr>
            <a:lvl3pPr marL="2130425" indent="-1220788" defTabSz="4171950">
              <a:buClr>
                <a:schemeClr val="tx2"/>
              </a:buClr>
              <a:buSzPct val="120000"/>
              <a:buFont typeface="Arial" charset="0"/>
              <a:buChar char="–"/>
              <a:defRPr sz="4000"/>
            </a:lvl3pPr>
            <a:lvl4pPr marL="2863850" indent="-725488" defTabSz="4171950">
              <a:buClr>
                <a:schemeClr val="tx2"/>
              </a:buClr>
              <a:buSzPct val="120000"/>
              <a:buFont typeface="Arial" charset="0"/>
              <a:buChar char="▫"/>
              <a:defRPr sz="4000"/>
            </a:lvl4pPr>
            <a:lvl5pPr marL="3476625" indent="-606425" defTabSz="4171950">
              <a:buClr>
                <a:schemeClr val="tx2"/>
              </a:buClr>
              <a:buSzPct val="89000"/>
              <a:buFont typeface="Arial" charset="0"/>
              <a:buChar char="-"/>
              <a:defRPr sz="4000"/>
            </a:lvl5pPr>
            <a:lvl6pPr marL="39338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6pPr>
            <a:lvl7pPr marL="43910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7pPr>
            <a:lvl8pPr marL="48482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8pPr>
            <a:lvl9pPr marL="53054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9pPr>
          </a:lstStyle>
          <a:p>
            <a:r>
              <a:rPr lang="de-DE" sz="1110" b="0" dirty="0"/>
              <a:t>Avg. waiting time:</a:t>
            </a:r>
            <a:endParaRPr lang="en-US" sz="1110" b="0" dirty="0"/>
          </a:p>
        </p:txBody>
      </p:sp>
      <p:sp>
        <p:nvSpPr>
          <p:cNvPr id="95" name="TextBox 94"/>
          <p:cNvSpPr txBox="1">
            <a:spLocks/>
          </p:cNvSpPr>
          <p:nvPr/>
        </p:nvSpPr>
        <p:spPr>
          <a:xfrm>
            <a:off x="9285033" y="4860017"/>
            <a:ext cx="277320" cy="2391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 defTabSz="4171950">
              <a:buClr>
                <a:schemeClr val="tx2"/>
              </a:buClr>
              <a:defRPr sz="8000" b="0">
                <a:latin typeface="+mn-lt"/>
              </a:defRPr>
            </a:lvl1pPr>
            <a:lvl2pPr marL="903288" indent="-896938" defTabSz="4171950">
              <a:buClr>
                <a:schemeClr val="tx2"/>
              </a:buClr>
              <a:buSzPct val="125000"/>
              <a:buFont typeface="Arial" charset="0"/>
              <a:buChar char="▪"/>
              <a:defRPr sz="4000"/>
            </a:lvl2pPr>
            <a:lvl3pPr marL="2130425" indent="-1220788" defTabSz="4171950">
              <a:buClr>
                <a:schemeClr val="tx2"/>
              </a:buClr>
              <a:buSzPct val="120000"/>
              <a:buFont typeface="Arial" charset="0"/>
              <a:buChar char="–"/>
              <a:defRPr sz="4000"/>
            </a:lvl3pPr>
            <a:lvl4pPr marL="2863850" indent="-725488" defTabSz="4171950">
              <a:buClr>
                <a:schemeClr val="tx2"/>
              </a:buClr>
              <a:buSzPct val="120000"/>
              <a:buFont typeface="Arial" charset="0"/>
              <a:buChar char="▫"/>
              <a:defRPr sz="4000"/>
            </a:lvl4pPr>
            <a:lvl5pPr marL="3476625" indent="-606425" defTabSz="4171950">
              <a:buClr>
                <a:schemeClr val="tx2"/>
              </a:buClr>
              <a:buSzPct val="89000"/>
              <a:buFont typeface="Arial" charset="0"/>
              <a:buChar char="-"/>
              <a:defRPr sz="4000"/>
            </a:lvl5pPr>
            <a:lvl6pPr marL="39338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6pPr>
            <a:lvl7pPr marL="43910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7pPr>
            <a:lvl8pPr marL="48482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8pPr>
            <a:lvl9pPr marL="53054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9pPr>
          </a:lstStyle>
          <a:p>
            <a:r>
              <a:rPr lang="de-DE" sz="1554" dirty="0"/>
              <a:t>1.8</a:t>
            </a:r>
            <a:endParaRPr lang="en-US" sz="1554" dirty="0"/>
          </a:p>
        </p:txBody>
      </p:sp>
      <p:sp>
        <p:nvSpPr>
          <p:cNvPr id="102" name="TextBox 101"/>
          <p:cNvSpPr txBox="1">
            <a:spLocks/>
          </p:cNvSpPr>
          <p:nvPr/>
        </p:nvSpPr>
        <p:spPr>
          <a:xfrm>
            <a:off x="7449885" y="4894177"/>
            <a:ext cx="1568837" cy="1708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4171950">
              <a:buClr>
                <a:schemeClr val="tx2"/>
              </a:buClr>
              <a:defRPr sz="6000" b="1">
                <a:latin typeface="+mn-lt"/>
              </a:defRPr>
            </a:lvl1pPr>
            <a:lvl2pPr marL="903288" indent="-896938" defTabSz="4171950">
              <a:buClr>
                <a:schemeClr val="tx2"/>
              </a:buClr>
              <a:buSzPct val="125000"/>
              <a:buFont typeface="Arial" charset="0"/>
              <a:buChar char="▪"/>
              <a:defRPr sz="4000"/>
            </a:lvl2pPr>
            <a:lvl3pPr marL="2130425" indent="-1220788" defTabSz="4171950">
              <a:buClr>
                <a:schemeClr val="tx2"/>
              </a:buClr>
              <a:buSzPct val="120000"/>
              <a:buFont typeface="Arial" charset="0"/>
              <a:buChar char="–"/>
              <a:defRPr sz="4000"/>
            </a:lvl3pPr>
            <a:lvl4pPr marL="2863850" indent="-725488" defTabSz="4171950">
              <a:buClr>
                <a:schemeClr val="tx2"/>
              </a:buClr>
              <a:buSzPct val="120000"/>
              <a:buFont typeface="Arial" charset="0"/>
              <a:buChar char="▫"/>
              <a:defRPr sz="4000"/>
            </a:lvl4pPr>
            <a:lvl5pPr marL="3476625" indent="-606425" defTabSz="4171950">
              <a:buClr>
                <a:schemeClr val="tx2"/>
              </a:buClr>
              <a:buSzPct val="89000"/>
              <a:buFont typeface="Arial" charset="0"/>
              <a:buChar char="-"/>
              <a:defRPr sz="4000"/>
            </a:lvl5pPr>
            <a:lvl6pPr marL="39338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6pPr>
            <a:lvl7pPr marL="43910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7pPr>
            <a:lvl8pPr marL="48482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8pPr>
            <a:lvl9pPr marL="53054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9pPr>
          </a:lstStyle>
          <a:p>
            <a:r>
              <a:rPr lang="de-DE" sz="1110" b="0" dirty="0"/>
              <a:t>Customer satisfaction:</a:t>
            </a:r>
            <a:endParaRPr lang="en-US" sz="1110" b="0" dirty="0"/>
          </a:p>
        </p:txBody>
      </p:sp>
      <p:sp>
        <p:nvSpPr>
          <p:cNvPr id="96" name="TextBox 95"/>
          <p:cNvSpPr txBox="1">
            <a:spLocks/>
          </p:cNvSpPr>
          <p:nvPr/>
        </p:nvSpPr>
        <p:spPr>
          <a:xfrm>
            <a:off x="9224186" y="5644167"/>
            <a:ext cx="1128514" cy="2391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 defTabSz="4171950">
              <a:buClr>
                <a:schemeClr val="tx2"/>
              </a:buClr>
              <a:defRPr sz="6000" b="1">
                <a:latin typeface="+mn-lt"/>
              </a:defRPr>
            </a:lvl1pPr>
            <a:lvl2pPr marL="903288" indent="-896938" defTabSz="4171950">
              <a:buClr>
                <a:schemeClr val="tx2"/>
              </a:buClr>
              <a:buSzPct val="125000"/>
              <a:buFont typeface="Arial" charset="0"/>
              <a:buChar char="▪"/>
              <a:defRPr sz="4000"/>
            </a:lvl2pPr>
            <a:lvl3pPr marL="2130425" indent="-1220788" defTabSz="4171950">
              <a:buClr>
                <a:schemeClr val="tx2"/>
              </a:buClr>
              <a:buSzPct val="120000"/>
              <a:buFont typeface="Arial" charset="0"/>
              <a:buChar char="–"/>
              <a:defRPr sz="4000"/>
            </a:lvl3pPr>
            <a:lvl4pPr marL="2863850" indent="-725488" defTabSz="4171950">
              <a:buClr>
                <a:schemeClr val="tx2"/>
              </a:buClr>
              <a:buSzPct val="120000"/>
              <a:buFont typeface="Arial" charset="0"/>
              <a:buChar char="▫"/>
              <a:defRPr sz="4000"/>
            </a:lvl4pPr>
            <a:lvl5pPr marL="3476625" indent="-606425" defTabSz="4171950">
              <a:buClr>
                <a:schemeClr val="tx2"/>
              </a:buClr>
              <a:buSzPct val="89000"/>
              <a:buFont typeface="Arial" charset="0"/>
              <a:buChar char="-"/>
              <a:defRPr sz="4000"/>
            </a:lvl5pPr>
            <a:lvl6pPr marL="39338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6pPr>
            <a:lvl7pPr marL="43910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7pPr>
            <a:lvl8pPr marL="48482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8pPr>
            <a:lvl9pPr marL="53054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9pPr>
          </a:lstStyle>
          <a:p>
            <a:r>
              <a:rPr lang="de-DE" sz="1554" b="0" dirty="0"/>
              <a:t>225 seconds</a:t>
            </a:r>
            <a:endParaRPr lang="en-US" sz="1110" b="0" dirty="0"/>
          </a:p>
        </p:txBody>
      </p:sp>
      <p:sp>
        <p:nvSpPr>
          <p:cNvPr id="103" name="TextBox 102"/>
          <p:cNvSpPr txBox="1">
            <a:spLocks/>
          </p:cNvSpPr>
          <p:nvPr/>
        </p:nvSpPr>
        <p:spPr>
          <a:xfrm>
            <a:off x="7449885" y="5678327"/>
            <a:ext cx="1568837" cy="1708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4171950">
              <a:buClr>
                <a:schemeClr val="tx2"/>
              </a:buClr>
              <a:defRPr sz="6000" b="1">
                <a:latin typeface="+mn-lt"/>
              </a:defRPr>
            </a:lvl1pPr>
            <a:lvl2pPr marL="903288" indent="-896938" defTabSz="4171950">
              <a:buClr>
                <a:schemeClr val="tx2"/>
              </a:buClr>
              <a:buSzPct val="125000"/>
              <a:buFont typeface="Arial" charset="0"/>
              <a:buChar char="▪"/>
              <a:defRPr sz="4000"/>
            </a:lvl2pPr>
            <a:lvl3pPr marL="2130425" indent="-1220788" defTabSz="4171950">
              <a:buClr>
                <a:schemeClr val="tx2"/>
              </a:buClr>
              <a:buSzPct val="120000"/>
              <a:buFont typeface="Arial" charset="0"/>
              <a:buChar char="–"/>
              <a:defRPr sz="4000"/>
            </a:lvl3pPr>
            <a:lvl4pPr marL="2863850" indent="-725488" defTabSz="4171950">
              <a:buClr>
                <a:schemeClr val="tx2"/>
              </a:buClr>
              <a:buSzPct val="120000"/>
              <a:buFont typeface="Arial" charset="0"/>
              <a:buChar char="▫"/>
              <a:defRPr sz="4000"/>
            </a:lvl4pPr>
            <a:lvl5pPr marL="3476625" indent="-606425" defTabSz="4171950">
              <a:buClr>
                <a:schemeClr val="tx2"/>
              </a:buClr>
              <a:buSzPct val="89000"/>
              <a:buFont typeface="Arial" charset="0"/>
              <a:buChar char="-"/>
              <a:defRPr sz="4000"/>
            </a:lvl5pPr>
            <a:lvl6pPr marL="39338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6pPr>
            <a:lvl7pPr marL="43910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7pPr>
            <a:lvl8pPr marL="48482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8pPr>
            <a:lvl9pPr marL="53054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9pPr>
          </a:lstStyle>
          <a:p>
            <a:r>
              <a:rPr lang="de-DE" sz="1110" b="0" dirty="0"/>
              <a:t>Total processing time:</a:t>
            </a:r>
            <a:endParaRPr lang="en-US" sz="1110" b="0" dirty="0"/>
          </a:p>
        </p:txBody>
      </p:sp>
      <p:sp>
        <p:nvSpPr>
          <p:cNvPr id="97" name="TextBox 96"/>
          <p:cNvSpPr txBox="1">
            <a:spLocks/>
          </p:cNvSpPr>
          <p:nvPr/>
        </p:nvSpPr>
        <p:spPr>
          <a:xfrm>
            <a:off x="9334849" y="5868003"/>
            <a:ext cx="1017907" cy="2391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 defTabSz="4171950">
              <a:buClr>
                <a:schemeClr val="tx2"/>
              </a:buClr>
              <a:defRPr sz="8000" b="0">
                <a:latin typeface="+mn-lt"/>
              </a:defRPr>
            </a:lvl1pPr>
            <a:lvl2pPr marL="903288" indent="-896938" defTabSz="4171950">
              <a:buClr>
                <a:schemeClr val="tx2"/>
              </a:buClr>
              <a:buSzPct val="125000"/>
              <a:buFont typeface="Arial" charset="0"/>
              <a:buChar char="▪"/>
              <a:defRPr sz="4000"/>
            </a:lvl2pPr>
            <a:lvl3pPr marL="2130425" indent="-1220788" defTabSz="4171950">
              <a:buClr>
                <a:schemeClr val="tx2"/>
              </a:buClr>
              <a:buSzPct val="120000"/>
              <a:buFont typeface="Arial" charset="0"/>
              <a:buChar char="–"/>
              <a:defRPr sz="4000"/>
            </a:lvl3pPr>
            <a:lvl4pPr marL="2863850" indent="-725488" defTabSz="4171950">
              <a:buClr>
                <a:schemeClr val="tx2"/>
              </a:buClr>
              <a:buSzPct val="120000"/>
              <a:buFont typeface="Arial" charset="0"/>
              <a:buChar char="▫"/>
              <a:defRPr sz="4000"/>
            </a:lvl4pPr>
            <a:lvl5pPr marL="3476625" indent="-606425" defTabSz="4171950">
              <a:buClr>
                <a:schemeClr val="tx2"/>
              </a:buClr>
              <a:buSzPct val="89000"/>
              <a:buFont typeface="Arial" charset="0"/>
              <a:buChar char="-"/>
              <a:defRPr sz="4000"/>
            </a:lvl5pPr>
            <a:lvl6pPr marL="39338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6pPr>
            <a:lvl7pPr marL="43910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7pPr>
            <a:lvl8pPr marL="48482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8pPr>
            <a:lvl9pPr marL="53054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9pPr>
          </a:lstStyle>
          <a:p>
            <a:r>
              <a:rPr lang="de-DE" sz="1554" dirty="0"/>
              <a:t>40 seconds</a:t>
            </a:r>
            <a:endParaRPr lang="en-US" sz="1110" dirty="0"/>
          </a:p>
        </p:txBody>
      </p:sp>
      <p:sp>
        <p:nvSpPr>
          <p:cNvPr id="104" name="TextBox 103"/>
          <p:cNvSpPr txBox="1">
            <a:spLocks/>
          </p:cNvSpPr>
          <p:nvPr/>
        </p:nvSpPr>
        <p:spPr>
          <a:xfrm>
            <a:off x="7449885" y="5902163"/>
            <a:ext cx="1568837" cy="1708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4171950">
              <a:buClr>
                <a:schemeClr val="tx2"/>
              </a:buClr>
              <a:defRPr sz="6000" b="1">
                <a:latin typeface="+mn-lt"/>
              </a:defRPr>
            </a:lvl1pPr>
            <a:lvl2pPr marL="903288" indent="-896938" defTabSz="4171950">
              <a:buClr>
                <a:schemeClr val="tx2"/>
              </a:buClr>
              <a:buSzPct val="125000"/>
              <a:buFont typeface="Arial" charset="0"/>
              <a:buChar char="▪"/>
              <a:defRPr sz="4000"/>
            </a:lvl2pPr>
            <a:lvl3pPr marL="2130425" indent="-1220788" defTabSz="4171950">
              <a:buClr>
                <a:schemeClr val="tx2"/>
              </a:buClr>
              <a:buSzPct val="120000"/>
              <a:buFont typeface="Arial" charset="0"/>
              <a:buChar char="–"/>
              <a:defRPr sz="4000"/>
            </a:lvl3pPr>
            <a:lvl4pPr marL="2863850" indent="-725488" defTabSz="4171950">
              <a:buClr>
                <a:schemeClr val="tx2"/>
              </a:buClr>
              <a:buSzPct val="120000"/>
              <a:buFont typeface="Arial" charset="0"/>
              <a:buChar char="▫"/>
              <a:defRPr sz="4000"/>
            </a:lvl4pPr>
            <a:lvl5pPr marL="3476625" indent="-606425" defTabSz="4171950">
              <a:buClr>
                <a:schemeClr val="tx2"/>
              </a:buClr>
              <a:buSzPct val="89000"/>
              <a:buFont typeface="Arial" charset="0"/>
              <a:buChar char="-"/>
              <a:defRPr sz="4000"/>
            </a:lvl5pPr>
            <a:lvl6pPr marL="39338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6pPr>
            <a:lvl7pPr marL="43910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7pPr>
            <a:lvl8pPr marL="48482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8pPr>
            <a:lvl9pPr marL="53054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9pPr>
          </a:lstStyle>
          <a:p>
            <a:r>
              <a:rPr lang="de-DE" sz="1110" b="0" dirty="0"/>
              <a:t>Avg. waiting time:</a:t>
            </a:r>
            <a:endParaRPr lang="en-US" sz="1110" b="0" dirty="0"/>
          </a:p>
        </p:txBody>
      </p:sp>
      <p:sp>
        <p:nvSpPr>
          <p:cNvPr id="98" name="TextBox 97"/>
          <p:cNvSpPr txBox="1">
            <a:spLocks/>
          </p:cNvSpPr>
          <p:nvPr/>
        </p:nvSpPr>
        <p:spPr>
          <a:xfrm>
            <a:off x="9227315" y="5420331"/>
            <a:ext cx="572273" cy="2391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 defTabSz="4171950">
              <a:buClr>
                <a:schemeClr val="tx2"/>
              </a:buClr>
              <a:defRPr sz="6000" b="1">
                <a:latin typeface="+mn-lt"/>
              </a:defRPr>
            </a:lvl1pPr>
            <a:lvl2pPr marL="903288" indent="-896938" defTabSz="4171950">
              <a:buClr>
                <a:schemeClr val="tx2"/>
              </a:buClr>
              <a:buSzPct val="125000"/>
              <a:buFont typeface="Arial" charset="0"/>
              <a:buChar char="▪"/>
              <a:defRPr sz="4000"/>
            </a:lvl2pPr>
            <a:lvl3pPr marL="2130425" indent="-1220788" defTabSz="4171950">
              <a:buClr>
                <a:schemeClr val="tx2"/>
              </a:buClr>
              <a:buSzPct val="120000"/>
              <a:buFont typeface="Arial" charset="0"/>
              <a:buChar char="–"/>
              <a:defRPr sz="4000"/>
            </a:lvl3pPr>
            <a:lvl4pPr marL="2863850" indent="-725488" defTabSz="4171950">
              <a:buClr>
                <a:schemeClr val="tx2"/>
              </a:buClr>
              <a:buSzPct val="120000"/>
              <a:buFont typeface="Arial" charset="0"/>
              <a:buChar char="▫"/>
              <a:defRPr sz="4000"/>
            </a:lvl4pPr>
            <a:lvl5pPr marL="3476625" indent="-606425" defTabSz="4171950">
              <a:buClr>
                <a:schemeClr val="tx2"/>
              </a:buClr>
              <a:buSzPct val="89000"/>
              <a:buFont typeface="Arial" charset="0"/>
              <a:buChar char="-"/>
              <a:defRPr sz="4000"/>
            </a:lvl5pPr>
            <a:lvl6pPr marL="39338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6pPr>
            <a:lvl7pPr marL="43910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7pPr>
            <a:lvl8pPr marL="48482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8pPr>
            <a:lvl9pPr marL="53054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9pPr>
          </a:lstStyle>
          <a:p>
            <a:r>
              <a:rPr lang="de-DE" sz="1554" b="0" dirty="0"/>
              <a:t>&gt; 90%</a:t>
            </a:r>
            <a:endParaRPr lang="en-US" sz="1554" b="0" dirty="0"/>
          </a:p>
        </p:txBody>
      </p:sp>
      <p:sp>
        <p:nvSpPr>
          <p:cNvPr id="105" name="TextBox 104"/>
          <p:cNvSpPr txBox="1">
            <a:spLocks/>
          </p:cNvSpPr>
          <p:nvPr/>
        </p:nvSpPr>
        <p:spPr>
          <a:xfrm>
            <a:off x="7449885" y="5454491"/>
            <a:ext cx="1568837" cy="1708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4171950">
              <a:buClr>
                <a:schemeClr val="tx2"/>
              </a:buClr>
              <a:defRPr sz="6000" b="1">
                <a:latin typeface="+mn-lt"/>
              </a:defRPr>
            </a:lvl1pPr>
            <a:lvl2pPr marL="903288" indent="-896938" defTabSz="4171950">
              <a:buClr>
                <a:schemeClr val="tx2"/>
              </a:buClr>
              <a:buSzPct val="125000"/>
              <a:buFont typeface="Arial" charset="0"/>
              <a:buChar char="▪"/>
              <a:defRPr sz="4000"/>
            </a:lvl2pPr>
            <a:lvl3pPr marL="2130425" indent="-1220788" defTabSz="4171950">
              <a:buClr>
                <a:schemeClr val="tx2"/>
              </a:buClr>
              <a:buSzPct val="120000"/>
              <a:buFont typeface="Arial" charset="0"/>
              <a:buChar char="–"/>
              <a:defRPr sz="4000"/>
            </a:lvl3pPr>
            <a:lvl4pPr marL="2863850" indent="-725488" defTabSz="4171950">
              <a:buClr>
                <a:schemeClr val="tx2"/>
              </a:buClr>
              <a:buSzPct val="120000"/>
              <a:buFont typeface="Arial" charset="0"/>
              <a:buChar char="▫"/>
              <a:defRPr sz="4000"/>
            </a:lvl4pPr>
            <a:lvl5pPr marL="3476625" indent="-606425" defTabSz="4171950">
              <a:buClr>
                <a:schemeClr val="tx2"/>
              </a:buClr>
              <a:buSzPct val="89000"/>
              <a:buFont typeface="Arial" charset="0"/>
              <a:buChar char="-"/>
              <a:defRPr sz="4000"/>
            </a:lvl5pPr>
            <a:lvl6pPr marL="39338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6pPr>
            <a:lvl7pPr marL="43910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7pPr>
            <a:lvl8pPr marL="48482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8pPr>
            <a:lvl9pPr marL="53054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9pPr>
          </a:lstStyle>
          <a:p>
            <a:r>
              <a:rPr lang="de-DE" sz="1110" b="0" dirty="0"/>
              <a:t>Availability:</a:t>
            </a:r>
          </a:p>
        </p:txBody>
      </p:sp>
      <p:sp>
        <p:nvSpPr>
          <p:cNvPr id="106" name="TextBox 105"/>
          <p:cNvSpPr txBox="1">
            <a:spLocks/>
          </p:cNvSpPr>
          <p:nvPr/>
        </p:nvSpPr>
        <p:spPr>
          <a:xfrm>
            <a:off x="7449885" y="6125999"/>
            <a:ext cx="1568837" cy="1708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4171950">
              <a:buClr>
                <a:schemeClr val="tx2"/>
              </a:buClr>
              <a:defRPr sz="6000" b="1">
                <a:latin typeface="+mn-lt"/>
              </a:defRPr>
            </a:lvl1pPr>
            <a:lvl2pPr marL="903288" indent="-896938" defTabSz="4171950">
              <a:buClr>
                <a:schemeClr val="tx2"/>
              </a:buClr>
              <a:buSzPct val="125000"/>
              <a:buFont typeface="Arial" charset="0"/>
              <a:buChar char="▪"/>
              <a:defRPr sz="4000"/>
            </a:lvl2pPr>
            <a:lvl3pPr marL="2130425" indent="-1220788" defTabSz="4171950">
              <a:buClr>
                <a:schemeClr val="tx2"/>
              </a:buClr>
              <a:buSzPct val="120000"/>
              <a:buFont typeface="Arial" charset="0"/>
              <a:buChar char="–"/>
              <a:defRPr sz="4000"/>
            </a:lvl3pPr>
            <a:lvl4pPr marL="2863850" indent="-725488" defTabSz="4171950">
              <a:buClr>
                <a:schemeClr val="tx2"/>
              </a:buClr>
              <a:buSzPct val="120000"/>
              <a:buFont typeface="Arial" charset="0"/>
              <a:buChar char="▫"/>
              <a:defRPr sz="4000"/>
            </a:lvl4pPr>
            <a:lvl5pPr marL="3476625" indent="-606425" defTabSz="4171950">
              <a:buClr>
                <a:schemeClr val="tx2"/>
              </a:buClr>
              <a:buSzPct val="89000"/>
              <a:buFont typeface="Arial" charset="0"/>
              <a:buChar char="-"/>
              <a:defRPr sz="4000"/>
            </a:lvl5pPr>
            <a:lvl6pPr marL="39338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6pPr>
            <a:lvl7pPr marL="43910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7pPr>
            <a:lvl8pPr marL="48482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8pPr>
            <a:lvl9pPr marL="53054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9pPr>
          </a:lstStyle>
          <a:p>
            <a:r>
              <a:rPr lang="de-DE" sz="1110" b="0"/>
              <a:t>Customer satisfaction:</a:t>
            </a:r>
            <a:endParaRPr lang="en-US" sz="1110" b="0" dirty="0"/>
          </a:p>
        </p:txBody>
      </p:sp>
      <p:sp>
        <p:nvSpPr>
          <p:cNvPr id="107" name="TextBox 106"/>
          <p:cNvSpPr txBox="1">
            <a:spLocks/>
          </p:cNvSpPr>
          <p:nvPr/>
        </p:nvSpPr>
        <p:spPr>
          <a:xfrm>
            <a:off x="9291660" y="6091839"/>
            <a:ext cx="277320" cy="2391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 defTabSz="4171950">
              <a:buClr>
                <a:schemeClr val="tx2"/>
              </a:buClr>
              <a:defRPr sz="8000" b="0">
                <a:latin typeface="+mn-lt"/>
              </a:defRPr>
            </a:lvl1pPr>
            <a:lvl2pPr marL="903288" indent="-896938" defTabSz="4171950">
              <a:buClr>
                <a:schemeClr val="tx2"/>
              </a:buClr>
              <a:buSzPct val="125000"/>
              <a:buFont typeface="Arial" charset="0"/>
              <a:buChar char="▪"/>
              <a:defRPr sz="4000"/>
            </a:lvl2pPr>
            <a:lvl3pPr marL="2130425" indent="-1220788" defTabSz="4171950">
              <a:buClr>
                <a:schemeClr val="tx2"/>
              </a:buClr>
              <a:buSzPct val="120000"/>
              <a:buFont typeface="Arial" charset="0"/>
              <a:buChar char="–"/>
              <a:defRPr sz="4000"/>
            </a:lvl3pPr>
            <a:lvl4pPr marL="2863850" indent="-725488" defTabSz="4171950">
              <a:buClr>
                <a:schemeClr val="tx2"/>
              </a:buClr>
              <a:buSzPct val="120000"/>
              <a:buFont typeface="Arial" charset="0"/>
              <a:buChar char="▫"/>
              <a:defRPr sz="4000"/>
            </a:lvl4pPr>
            <a:lvl5pPr marL="3476625" indent="-606425" defTabSz="4171950">
              <a:buClr>
                <a:schemeClr val="tx2"/>
              </a:buClr>
              <a:buSzPct val="89000"/>
              <a:buFont typeface="Arial" charset="0"/>
              <a:buChar char="-"/>
              <a:defRPr sz="4000"/>
            </a:lvl5pPr>
            <a:lvl6pPr marL="39338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6pPr>
            <a:lvl7pPr marL="43910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7pPr>
            <a:lvl8pPr marL="48482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8pPr>
            <a:lvl9pPr marL="53054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9pPr>
          </a:lstStyle>
          <a:p>
            <a:r>
              <a:rPr lang="de-DE" sz="1554" dirty="0"/>
              <a:t>1.6</a:t>
            </a:r>
            <a:endParaRPr lang="en-US" sz="1554" dirty="0"/>
          </a:p>
        </p:txBody>
      </p:sp>
      <p:sp>
        <p:nvSpPr>
          <p:cNvPr id="108" name="TextBox 107"/>
          <p:cNvSpPr txBox="1">
            <a:spLocks/>
          </p:cNvSpPr>
          <p:nvPr/>
        </p:nvSpPr>
        <p:spPr>
          <a:xfrm>
            <a:off x="6137369" y="3741957"/>
            <a:ext cx="3989521" cy="1708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4171950">
              <a:buClr>
                <a:schemeClr val="tx2"/>
              </a:buClr>
              <a:defRPr sz="6000" b="1">
                <a:latin typeface="+mn-lt"/>
              </a:defRPr>
            </a:lvl1pPr>
            <a:lvl2pPr marL="903288" indent="-896938" defTabSz="4171950">
              <a:buClr>
                <a:schemeClr val="tx2"/>
              </a:buClr>
              <a:buSzPct val="125000"/>
              <a:buFont typeface="Arial" charset="0"/>
              <a:buChar char="▪"/>
              <a:defRPr sz="4000"/>
            </a:lvl2pPr>
            <a:lvl3pPr marL="2130425" indent="-1220788" defTabSz="4171950">
              <a:buClr>
                <a:schemeClr val="tx2"/>
              </a:buClr>
              <a:buSzPct val="120000"/>
              <a:buFont typeface="Arial" charset="0"/>
              <a:buChar char="–"/>
              <a:defRPr sz="4000"/>
            </a:lvl3pPr>
            <a:lvl4pPr marL="2863850" indent="-725488" defTabSz="4171950">
              <a:buClr>
                <a:schemeClr val="tx2"/>
              </a:buClr>
              <a:buSzPct val="120000"/>
              <a:buFont typeface="Arial" charset="0"/>
              <a:buChar char="▫"/>
              <a:defRPr sz="4000"/>
            </a:lvl4pPr>
            <a:lvl5pPr marL="3476625" indent="-606425" defTabSz="4171950">
              <a:buClr>
                <a:schemeClr val="tx2"/>
              </a:buClr>
              <a:buSzPct val="89000"/>
              <a:buFont typeface="Arial" charset="0"/>
              <a:buChar char="-"/>
              <a:defRPr sz="4000"/>
            </a:lvl5pPr>
            <a:lvl6pPr marL="39338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6pPr>
            <a:lvl7pPr marL="43910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7pPr>
            <a:lvl8pPr marL="48482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8pPr>
            <a:lvl9pPr marL="53054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9pPr>
          </a:lstStyle>
          <a:p>
            <a:r>
              <a:rPr lang="de-DE" sz="1110" dirty="0"/>
              <a:t>Concrete change </a:t>
            </a:r>
            <a:r>
              <a:rPr lang="de-DE" sz="1110" b="0" dirty="0"/>
              <a:t>(example: call center)</a:t>
            </a:r>
            <a:endParaRPr lang="en-US" sz="1110" b="0" dirty="0"/>
          </a:p>
        </p:txBody>
      </p:sp>
      <p:sp>
        <p:nvSpPr>
          <p:cNvPr id="101" name="TextBox 100"/>
          <p:cNvSpPr txBox="1">
            <a:spLocks/>
          </p:cNvSpPr>
          <p:nvPr/>
        </p:nvSpPr>
        <p:spPr>
          <a:xfrm>
            <a:off x="7449885" y="4222670"/>
            <a:ext cx="1568837" cy="1708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4171950">
              <a:buClr>
                <a:schemeClr val="tx2"/>
              </a:buClr>
              <a:defRPr sz="6000" b="1">
                <a:latin typeface="+mn-lt"/>
              </a:defRPr>
            </a:lvl1pPr>
            <a:lvl2pPr marL="903288" indent="-896938" defTabSz="4171950">
              <a:buClr>
                <a:schemeClr val="tx2"/>
              </a:buClr>
              <a:buSzPct val="125000"/>
              <a:buFont typeface="Arial" charset="0"/>
              <a:buChar char="▪"/>
              <a:defRPr sz="4000"/>
            </a:lvl2pPr>
            <a:lvl3pPr marL="2130425" indent="-1220788" defTabSz="4171950">
              <a:buClr>
                <a:schemeClr val="tx2"/>
              </a:buClr>
              <a:buSzPct val="120000"/>
              <a:buFont typeface="Arial" charset="0"/>
              <a:buChar char="–"/>
              <a:defRPr sz="4000"/>
            </a:lvl3pPr>
            <a:lvl4pPr marL="2863850" indent="-725488" defTabSz="4171950">
              <a:buClr>
                <a:schemeClr val="tx2"/>
              </a:buClr>
              <a:buSzPct val="120000"/>
              <a:buFont typeface="Arial" charset="0"/>
              <a:buChar char="▫"/>
              <a:defRPr sz="4000"/>
            </a:lvl4pPr>
            <a:lvl5pPr marL="3476625" indent="-606425" defTabSz="4171950">
              <a:buClr>
                <a:schemeClr val="tx2"/>
              </a:buClr>
              <a:buSzPct val="89000"/>
              <a:buFont typeface="Arial" charset="0"/>
              <a:buChar char="-"/>
              <a:defRPr sz="4000"/>
            </a:lvl5pPr>
            <a:lvl6pPr marL="39338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6pPr>
            <a:lvl7pPr marL="43910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7pPr>
            <a:lvl8pPr marL="48482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8pPr>
            <a:lvl9pPr marL="53054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9pPr>
          </a:lstStyle>
          <a:p>
            <a:r>
              <a:rPr lang="de-DE" sz="1110" b="0" dirty="0"/>
              <a:t>Availability:</a:t>
            </a:r>
            <a:endParaRPr lang="en-US" sz="1110" b="0" dirty="0"/>
          </a:p>
        </p:txBody>
      </p:sp>
      <p:sp>
        <p:nvSpPr>
          <p:cNvPr id="114" name="TextBox 113"/>
          <p:cNvSpPr txBox="1">
            <a:spLocks/>
          </p:cNvSpPr>
          <p:nvPr/>
        </p:nvSpPr>
        <p:spPr>
          <a:xfrm>
            <a:off x="9167609" y="4188510"/>
            <a:ext cx="559449" cy="2391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 defTabSz="4171950">
              <a:buClr>
                <a:schemeClr val="tx2"/>
              </a:buClr>
              <a:defRPr sz="6000" b="1">
                <a:latin typeface="+mn-lt"/>
              </a:defRPr>
            </a:lvl1pPr>
            <a:lvl2pPr marL="903288" indent="-896938" defTabSz="4171950">
              <a:buClr>
                <a:schemeClr val="tx2"/>
              </a:buClr>
              <a:buSzPct val="125000"/>
              <a:buFont typeface="Arial" charset="0"/>
              <a:buChar char="▪"/>
              <a:defRPr sz="4000"/>
            </a:lvl2pPr>
            <a:lvl3pPr marL="2130425" indent="-1220788" defTabSz="4171950">
              <a:buClr>
                <a:schemeClr val="tx2"/>
              </a:buClr>
              <a:buSzPct val="120000"/>
              <a:buFont typeface="Arial" charset="0"/>
              <a:buChar char="–"/>
              <a:defRPr sz="4000"/>
            </a:lvl3pPr>
            <a:lvl4pPr marL="2863850" indent="-725488" defTabSz="4171950">
              <a:buClr>
                <a:schemeClr val="tx2"/>
              </a:buClr>
              <a:buSzPct val="120000"/>
              <a:buFont typeface="Arial" charset="0"/>
              <a:buChar char="▫"/>
              <a:defRPr sz="4000"/>
            </a:lvl4pPr>
            <a:lvl5pPr marL="3476625" indent="-606425" defTabSz="4171950">
              <a:buClr>
                <a:schemeClr val="tx2"/>
              </a:buClr>
              <a:buSzPct val="89000"/>
              <a:buFont typeface="Arial" charset="0"/>
              <a:buChar char="-"/>
              <a:defRPr sz="4000"/>
            </a:lvl5pPr>
            <a:lvl6pPr marL="39338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6pPr>
            <a:lvl7pPr marL="43910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7pPr>
            <a:lvl8pPr marL="48482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8pPr>
            <a:lvl9pPr marL="53054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9pPr>
          </a:lstStyle>
          <a:p>
            <a:r>
              <a:rPr sz="1332" dirty="0"/>
              <a:t> </a:t>
            </a:r>
            <a:r>
              <a:rPr lang="de-DE" sz="1554" b="0" dirty="0"/>
              <a:t>  60%</a:t>
            </a:r>
            <a:endParaRPr lang="en-US" sz="1554" b="0" dirty="0"/>
          </a:p>
        </p:txBody>
      </p:sp>
      <p:pic>
        <p:nvPicPr>
          <p:cNvPr id="123" name="Picture 122" descr="IMG_0188"/>
          <p:cNvPicPr>
            <a:picLocks noGrp="1"/>
          </p:cNvPicPr>
          <p:nvPr isPhoto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5413" y="4188510"/>
            <a:ext cx="1215090" cy="910625"/>
          </a:xfrm>
          <a:prstGeom prst="rect">
            <a:avLst/>
          </a:prstGeom>
          <a:noFill/>
          <a:ln w="12700">
            <a:solidFill>
              <a:schemeClr val="bg1"/>
            </a:solidFill>
          </a:ln>
        </p:spPr>
      </p:pic>
      <p:pic>
        <p:nvPicPr>
          <p:cNvPr id="124" name="Picture 123" descr="IMG_0254"/>
          <p:cNvPicPr>
            <a:picLocks noGrp="1"/>
          </p:cNvPicPr>
          <p:nvPr isPhoto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5413" y="5420332"/>
            <a:ext cx="1215090" cy="910625"/>
          </a:xfrm>
          <a:prstGeom prst="rect">
            <a:avLst/>
          </a:prstGeom>
          <a:noFill/>
          <a:ln w="12700">
            <a:solidFill>
              <a:schemeClr val="bg1"/>
            </a:solidFill>
          </a:ln>
        </p:spPr>
      </p:pic>
      <p:sp>
        <p:nvSpPr>
          <p:cNvPr id="10" name="Freeform 29"/>
          <p:cNvSpPr>
            <a:spLocks noEditPoints="1"/>
          </p:cNvSpPr>
          <p:nvPr/>
        </p:nvSpPr>
        <p:spPr bwMode="auto">
          <a:xfrm>
            <a:off x="704192" y="4032896"/>
            <a:ext cx="473789" cy="562216"/>
          </a:xfrm>
          <a:custGeom>
            <a:avLst/>
            <a:gdLst>
              <a:gd name="T0" fmla="*/ 156 w 184"/>
              <a:gd name="T1" fmla="*/ 14 h 219"/>
              <a:gd name="T2" fmla="*/ 156 w 184"/>
              <a:gd name="T3" fmla="*/ 28 h 219"/>
              <a:gd name="T4" fmla="*/ 170 w 184"/>
              <a:gd name="T5" fmla="*/ 28 h 219"/>
              <a:gd name="T6" fmla="*/ 156 w 184"/>
              <a:gd name="T7" fmla="*/ 66 h 219"/>
              <a:gd name="T8" fmla="*/ 150 w 184"/>
              <a:gd name="T9" fmla="*/ 88 h 219"/>
              <a:gd name="T10" fmla="*/ 184 w 184"/>
              <a:gd name="T11" fmla="*/ 21 h 219"/>
              <a:gd name="T12" fmla="*/ 184 w 184"/>
              <a:gd name="T13" fmla="*/ 14 h 219"/>
              <a:gd name="T14" fmla="*/ 156 w 184"/>
              <a:gd name="T15" fmla="*/ 14 h 219"/>
              <a:gd name="T16" fmla="*/ 14 w 184"/>
              <a:gd name="T17" fmla="*/ 28 h 219"/>
              <a:gd name="T18" fmla="*/ 28 w 184"/>
              <a:gd name="T19" fmla="*/ 28 h 219"/>
              <a:gd name="T20" fmla="*/ 28 w 184"/>
              <a:gd name="T21" fmla="*/ 14 h 219"/>
              <a:gd name="T22" fmla="*/ 0 w 184"/>
              <a:gd name="T23" fmla="*/ 14 h 219"/>
              <a:gd name="T24" fmla="*/ 0 w 184"/>
              <a:gd name="T25" fmla="*/ 21 h 219"/>
              <a:gd name="T26" fmla="*/ 33 w 184"/>
              <a:gd name="T27" fmla="*/ 88 h 219"/>
              <a:gd name="T28" fmla="*/ 28 w 184"/>
              <a:gd name="T29" fmla="*/ 66 h 219"/>
              <a:gd name="T30" fmla="*/ 14 w 184"/>
              <a:gd name="T31" fmla="*/ 28 h 219"/>
              <a:gd name="T32" fmla="*/ 79 w 184"/>
              <a:gd name="T33" fmla="*/ 61 h 219"/>
              <a:gd name="T34" fmla="*/ 67 w 184"/>
              <a:gd name="T35" fmla="*/ 53 h 219"/>
              <a:gd name="T36" fmla="*/ 54 w 184"/>
              <a:gd name="T37" fmla="*/ 61 h 219"/>
              <a:gd name="T38" fmla="*/ 54 w 184"/>
              <a:gd name="T39" fmla="*/ 0 h 219"/>
              <a:gd name="T40" fmla="*/ 34 w 184"/>
              <a:gd name="T41" fmla="*/ 0 h 219"/>
              <a:gd name="T42" fmla="*/ 34 w 184"/>
              <a:gd name="T43" fmla="*/ 62 h 219"/>
              <a:gd name="T44" fmla="*/ 80 w 184"/>
              <a:gd name="T45" fmla="*/ 119 h 219"/>
              <a:gd name="T46" fmla="*/ 80 w 184"/>
              <a:gd name="T47" fmla="*/ 151 h 219"/>
              <a:gd name="T48" fmla="*/ 64 w 184"/>
              <a:gd name="T49" fmla="*/ 166 h 219"/>
              <a:gd name="T50" fmla="*/ 119 w 184"/>
              <a:gd name="T51" fmla="*/ 166 h 219"/>
              <a:gd name="T52" fmla="*/ 103 w 184"/>
              <a:gd name="T53" fmla="*/ 151 h 219"/>
              <a:gd name="T54" fmla="*/ 103 w 184"/>
              <a:gd name="T55" fmla="*/ 119 h 219"/>
              <a:gd name="T56" fmla="*/ 149 w 184"/>
              <a:gd name="T57" fmla="*/ 62 h 219"/>
              <a:gd name="T58" fmla="*/ 149 w 184"/>
              <a:gd name="T59" fmla="*/ 0 h 219"/>
              <a:gd name="T60" fmla="*/ 79 w 184"/>
              <a:gd name="T61" fmla="*/ 0 h 219"/>
              <a:gd name="T62" fmla="*/ 79 w 184"/>
              <a:gd name="T63" fmla="*/ 61 h 219"/>
              <a:gd name="T64" fmla="*/ 136 w 184"/>
              <a:gd name="T65" fmla="*/ 172 h 219"/>
              <a:gd name="T66" fmla="*/ 47 w 184"/>
              <a:gd name="T67" fmla="*/ 172 h 219"/>
              <a:gd name="T68" fmla="*/ 42 w 184"/>
              <a:gd name="T69" fmla="*/ 176 h 219"/>
              <a:gd name="T70" fmla="*/ 42 w 184"/>
              <a:gd name="T71" fmla="*/ 203 h 219"/>
              <a:gd name="T72" fmla="*/ 141 w 184"/>
              <a:gd name="T73" fmla="*/ 203 h 219"/>
              <a:gd name="T74" fmla="*/ 141 w 184"/>
              <a:gd name="T75" fmla="*/ 176 h 219"/>
              <a:gd name="T76" fmla="*/ 136 w 184"/>
              <a:gd name="T77" fmla="*/ 172 h 219"/>
              <a:gd name="T78" fmla="*/ 144 w 184"/>
              <a:gd name="T79" fmla="*/ 210 h 219"/>
              <a:gd name="T80" fmla="*/ 39 w 184"/>
              <a:gd name="T81" fmla="*/ 210 h 219"/>
              <a:gd name="T82" fmla="*/ 35 w 184"/>
              <a:gd name="T83" fmla="*/ 214 h 219"/>
              <a:gd name="T84" fmla="*/ 39 w 184"/>
              <a:gd name="T85" fmla="*/ 219 h 219"/>
              <a:gd name="T86" fmla="*/ 144 w 184"/>
              <a:gd name="T87" fmla="*/ 219 h 219"/>
              <a:gd name="T88" fmla="*/ 149 w 184"/>
              <a:gd name="T89" fmla="*/ 214 h 219"/>
              <a:gd name="T90" fmla="*/ 144 w 184"/>
              <a:gd name="T91" fmla="*/ 210 h 2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84" h="219">
                <a:moveTo>
                  <a:pt x="156" y="14"/>
                </a:moveTo>
                <a:cubicBezTo>
                  <a:pt x="156" y="28"/>
                  <a:pt x="156" y="28"/>
                  <a:pt x="156" y="28"/>
                </a:cubicBezTo>
                <a:cubicBezTo>
                  <a:pt x="170" y="28"/>
                  <a:pt x="170" y="28"/>
                  <a:pt x="170" y="28"/>
                </a:cubicBezTo>
                <a:cubicBezTo>
                  <a:pt x="169" y="37"/>
                  <a:pt x="165" y="54"/>
                  <a:pt x="156" y="66"/>
                </a:cubicBezTo>
                <a:cubicBezTo>
                  <a:pt x="155" y="74"/>
                  <a:pt x="153" y="81"/>
                  <a:pt x="150" y="88"/>
                </a:cubicBezTo>
                <a:cubicBezTo>
                  <a:pt x="183" y="71"/>
                  <a:pt x="184" y="23"/>
                  <a:pt x="184" y="21"/>
                </a:cubicBezTo>
                <a:cubicBezTo>
                  <a:pt x="184" y="14"/>
                  <a:pt x="184" y="14"/>
                  <a:pt x="184" y="14"/>
                </a:cubicBezTo>
                <a:lnTo>
                  <a:pt x="156" y="14"/>
                </a:lnTo>
                <a:close/>
                <a:moveTo>
                  <a:pt x="14" y="28"/>
                </a:moveTo>
                <a:cubicBezTo>
                  <a:pt x="28" y="28"/>
                  <a:pt x="28" y="28"/>
                  <a:pt x="28" y="28"/>
                </a:cubicBezTo>
                <a:cubicBezTo>
                  <a:pt x="28" y="14"/>
                  <a:pt x="28" y="14"/>
                  <a:pt x="28" y="14"/>
                </a:cubicBezTo>
                <a:cubicBezTo>
                  <a:pt x="0" y="14"/>
                  <a:pt x="0" y="14"/>
                  <a:pt x="0" y="14"/>
                </a:cubicBezTo>
                <a:cubicBezTo>
                  <a:pt x="0" y="21"/>
                  <a:pt x="0" y="21"/>
                  <a:pt x="0" y="21"/>
                </a:cubicBezTo>
                <a:cubicBezTo>
                  <a:pt x="0" y="23"/>
                  <a:pt x="0" y="71"/>
                  <a:pt x="33" y="88"/>
                </a:cubicBezTo>
                <a:cubicBezTo>
                  <a:pt x="30" y="81"/>
                  <a:pt x="28" y="74"/>
                  <a:pt x="28" y="66"/>
                </a:cubicBezTo>
                <a:cubicBezTo>
                  <a:pt x="18" y="54"/>
                  <a:pt x="15" y="37"/>
                  <a:pt x="14" y="28"/>
                </a:cubicBezTo>
                <a:close/>
                <a:moveTo>
                  <a:pt x="79" y="61"/>
                </a:moveTo>
                <a:cubicBezTo>
                  <a:pt x="67" y="53"/>
                  <a:pt x="67" y="53"/>
                  <a:pt x="67" y="53"/>
                </a:cubicBezTo>
                <a:cubicBezTo>
                  <a:pt x="54" y="61"/>
                  <a:pt x="54" y="61"/>
                  <a:pt x="54" y="61"/>
                </a:cubicBezTo>
                <a:cubicBezTo>
                  <a:pt x="54" y="0"/>
                  <a:pt x="54" y="0"/>
                  <a:pt x="54" y="0"/>
                </a:cubicBezTo>
                <a:cubicBezTo>
                  <a:pt x="34" y="0"/>
                  <a:pt x="34" y="0"/>
                  <a:pt x="34" y="0"/>
                </a:cubicBezTo>
                <a:cubicBezTo>
                  <a:pt x="34" y="62"/>
                  <a:pt x="34" y="62"/>
                  <a:pt x="34" y="62"/>
                </a:cubicBezTo>
                <a:cubicBezTo>
                  <a:pt x="34" y="90"/>
                  <a:pt x="54" y="113"/>
                  <a:pt x="80" y="119"/>
                </a:cubicBezTo>
                <a:cubicBezTo>
                  <a:pt x="80" y="151"/>
                  <a:pt x="80" y="151"/>
                  <a:pt x="80" y="151"/>
                </a:cubicBezTo>
                <a:cubicBezTo>
                  <a:pt x="80" y="155"/>
                  <a:pt x="72" y="161"/>
                  <a:pt x="64" y="166"/>
                </a:cubicBezTo>
                <a:cubicBezTo>
                  <a:pt x="119" y="166"/>
                  <a:pt x="119" y="166"/>
                  <a:pt x="119" y="166"/>
                </a:cubicBezTo>
                <a:cubicBezTo>
                  <a:pt x="111" y="161"/>
                  <a:pt x="103" y="155"/>
                  <a:pt x="103" y="151"/>
                </a:cubicBezTo>
                <a:cubicBezTo>
                  <a:pt x="103" y="119"/>
                  <a:pt x="103" y="119"/>
                  <a:pt x="103" y="119"/>
                </a:cubicBezTo>
                <a:cubicBezTo>
                  <a:pt x="129" y="113"/>
                  <a:pt x="149" y="90"/>
                  <a:pt x="149" y="62"/>
                </a:cubicBezTo>
                <a:cubicBezTo>
                  <a:pt x="149" y="0"/>
                  <a:pt x="149" y="0"/>
                  <a:pt x="149" y="0"/>
                </a:cubicBezTo>
                <a:cubicBezTo>
                  <a:pt x="79" y="0"/>
                  <a:pt x="79" y="0"/>
                  <a:pt x="79" y="0"/>
                </a:cubicBezTo>
                <a:lnTo>
                  <a:pt x="79" y="61"/>
                </a:lnTo>
                <a:close/>
                <a:moveTo>
                  <a:pt x="136" y="172"/>
                </a:moveTo>
                <a:cubicBezTo>
                  <a:pt x="47" y="172"/>
                  <a:pt x="47" y="172"/>
                  <a:pt x="47" y="172"/>
                </a:cubicBezTo>
                <a:cubicBezTo>
                  <a:pt x="44" y="172"/>
                  <a:pt x="42" y="174"/>
                  <a:pt x="42" y="176"/>
                </a:cubicBezTo>
                <a:cubicBezTo>
                  <a:pt x="42" y="203"/>
                  <a:pt x="42" y="203"/>
                  <a:pt x="42" y="203"/>
                </a:cubicBezTo>
                <a:cubicBezTo>
                  <a:pt x="141" y="203"/>
                  <a:pt x="141" y="203"/>
                  <a:pt x="141" y="203"/>
                </a:cubicBezTo>
                <a:cubicBezTo>
                  <a:pt x="141" y="176"/>
                  <a:pt x="141" y="176"/>
                  <a:pt x="141" y="176"/>
                </a:cubicBezTo>
                <a:cubicBezTo>
                  <a:pt x="141" y="174"/>
                  <a:pt x="139" y="172"/>
                  <a:pt x="136" y="172"/>
                </a:cubicBezTo>
                <a:close/>
                <a:moveTo>
                  <a:pt x="144" y="210"/>
                </a:moveTo>
                <a:cubicBezTo>
                  <a:pt x="39" y="210"/>
                  <a:pt x="39" y="210"/>
                  <a:pt x="39" y="210"/>
                </a:cubicBezTo>
                <a:cubicBezTo>
                  <a:pt x="37" y="210"/>
                  <a:pt x="35" y="212"/>
                  <a:pt x="35" y="214"/>
                </a:cubicBezTo>
                <a:cubicBezTo>
                  <a:pt x="35" y="217"/>
                  <a:pt x="37" y="219"/>
                  <a:pt x="39" y="219"/>
                </a:cubicBezTo>
                <a:cubicBezTo>
                  <a:pt x="144" y="219"/>
                  <a:pt x="144" y="219"/>
                  <a:pt x="144" y="219"/>
                </a:cubicBezTo>
                <a:cubicBezTo>
                  <a:pt x="147" y="219"/>
                  <a:pt x="149" y="217"/>
                  <a:pt x="149" y="214"/>
                </a:cubicBezTo>
                <a:cubicBezTo>
                  <a:pt x="149" y="212"/>
                  <a:pt x="147" y="210"/>
                  <a:pt x="144" y="21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20298" tIns="10149" rIns="20298" bIns="10149" numCol="1" anchor="t" anchorCtr="0" compatLnSpc="1">
            <a:prstTxWarp prst="textNoShape">
              <a:avLst/>
            </a:prstTxWarp>
          </a:bodyPr>
          <a:lstStyle/>
          <a:p>
            <a:endParaRPr lang="de-DE" sz="425"/>
          </a:p>
        </p:txBody>
      </p:sp>
      <p:sp>
        <p:nvSpPr>
          <p:cNvPr id="89" name="TextBox 88"/>
          <p:cNvSpPr txBox="1">
            <a:spLocks/>
          </p:cNvSpPr>
          <p:nvPr/>
        </p:nvSpPr>
        <p:spPr>
          <a:xfrm>
            <a:off x="6142415" y="5199933"/>
            <a:ext cx="1097051" cy="1708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4171950">
              <a:buClr>
                <a:schemeClr val="tx2"/>
              </a:buClr>
              <a:defRPr sz="6000" b="1">
                <a:latin typeface="+mn-lt"/>
              </a:defRPr>
            </a:lvl1pPr>
            <a:lvl2pPr marL="903288" indent="-896938" defTabSz="4171950">
              <a:buClr>
                <a:schemeClr val="tx2"/>
              </a:buClr>
              <a:buSzPct val="125000"/>
              <a:buFont typeface="Arial" charset="0"/>
              <a:buChar char="▪"/>
              <a:defRPr sz="4000"/>
            </a:lvl2pPr>
            <a:lvl3pPr marL="2130425" indent="-1220788" defTabSz="4171950">
              <a:buClr>
                <a:schemeClr val="tx2"/>
              </a:buClr>
              <a:buSzPct val="120000"/>
              <a:buFont typeface="Arial" charset="0"/>
              <a:buChar char="–"/>
              <a:defRPr sz="4000"/>
            </a:lvl3pPr>
            <a:lvl4pPr marL="2863850" indent="-725488" defTabSz="4171950">
              <a:buClr>
                <a:schemeClr val="tx2"/>
              </a:buClr>
              <a:buSzPct val="120000"/>
              <a:buFont typeface="Arial" charset="0"/>
              <a:buChar char="▫"/>
              <a:defRPr sz="4000"/>
            </a:lvl4pPr>
            <a:lvl5pPr marL="3476625" indent="-606425" defTabSz="4171950">
              <a:buClr>
                <a:schemeClr val="tx2"/>
              </a:buClr>
              <a:buSzPct val="89000"/>
              <a:buFont typeface="Arial" charset="0"/>
              <a:buChar char="-"/>
              <a:defRPr sz="4000"/>
            </a:lvl5pPr>
            <a:lvl6pPr marL="39338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6pPr>
            <a:lvl7pPr marL="43910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7pPr>
            <a:lvl8pPr marL="48482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8pPr>
            <a:lvl9pPr marL="53054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9pPr>
          </a:lstStyle>
          <a:p>
            <a:r>
              <a:rPr lang="de-DE" sz="1110" dirty="0"/>
              <a:t>After</a:t>
            </a:r>
            <a:endParaRPr lang="en-US" sz="1110" b="0" dirty="0"/>
          </a:p>
        </p:txBody>
      </p:sp>
      <p:sp>
        <p:nvSpPr>
          <p:cNvPr id="112" name="TextBox 111"/>
          <p:cNvSpPr txBox="1">
            <a:spLocks/>
          </p:cNvSpPr>
          <p:nvPr/>
        </p:nvSpPr>
        <p:spPr>
          <a:xfrm>
            <a:off x="6142415" y="3962411"/>
            <a:ext cx="1097051" cy="1708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4171950">
              <a:buClr>
                <a:schemeClr val="tx2"/>
              </a:buClr>
              <a:defRPr sz="6000" b="1">
                <a:latin typeface="+mn-lt"/>
              </a:defRPr>
            </a:lvl1pPr>
            <a:lvl2pPr marL="903288" indent="-896938" defTabSz="4171950">
              <a:buClr>
                <a:schemeClr val="tx2"/>
              </a:buClr>
              <a:buSzPct val="125000"/>
              <a:buFont typeface="Arial" charset="0"/>
              <a:buChar char="▪"/>
              <a:defRPr sz="4000"/>
            </a:lvl2pPr>
            <a:lvl3pPr marL="2130425" indent="-1220788" defTabSz="4171950">
              <a:buClr>
                <a:schemeClr val="tx2"/>
              </a:buClr>
              <a:buSzPct val="120000"/>
              <a:buFont typeface="Arial" charset="0"/>
              <a:buChar char="–"/>
              <a:defRPr sz="4000"/>
            </a:lvl3pPr>
            <a:lvl4pPr marL="2863850" indent="-725488" defTabSz="4171950">
              <a:buClr>
                <a:schemeClr val="tx2"/>
              </a:buClr>
              <a:buSzPct val="120000"/>
              <a:buFont typeface="Arial" charset="0"/>
              <a:buChar char="▫"/>
              <a:defRPr sz="4000"/>
            </a:lvl4pPr>
            <a:lvl5pPr marL="3476625" indent="-606425" defTabSz="4171950">
              <a:buClr>
                <a:schemeClr val="tx2"/>
              </a:buClr>
              <a:buSzPct val="89000"/>
              <a:buFont typeface="Arial" charset="0"/>
              <a:buChar char="-"/>
              <a:defRPr sz="4000"/>
            </a:lvl5pPr>
            <a:lvl6pPr marL="39338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6pPr>
            <a:lvl7pPr marL="43910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7pPr>
            <a:lvl8pPr marL="48482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8pPr>
            <a:lvl9pPr marL="5305425" indent="-606425" defTabSz="41719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000"/>
            </a:lvl9pPr>
          </a:lstStyle>
          <a:p>
            <a:r>
              <a:rPr lang="de-DE" sz="1110" dirty="0"/>
              <a:t>Before</a:t>
            </a:r>
            <a:endParaRPr lang="en-US" sz="1110" b="0" dirty="0"/>
          </a:p>
        </p:txBody>
      </p:sp>
      <p:grpSp>
        <p:nvGrpSpPr>
          <p:cNvPr id="44" name="Group 43"/>
          <p:cNvGrpSpPr/>
          <p:nvPr/>
        </p:nvGrpSpPr>
        <p:grpSpPr>
          <a:xfrm>
            <a:off x="6118036" y="4141448"/>
            <a:ext cx="4223862" cy="1238442"/>
            <a:chOff x="22047055" y="18657057"/>
            <a:chExt cx="17068730" cy="5579132"/>
          </a:xfrm>
        </p:grpSpPr>
        <p:cxnSp>
          <p:nvCxnSpPr>
            <p:cNvPr id="33" name="Straight Connector 32"/>
            <p:cNvCxnSpPr/>
            <p:nvPr/>
          </p:nvCxnSpPr>
          <p:spPr>
            <a:xfrm>
              <a:off x="22047055" y="18657057"/>
              <a:ext cx="17068730" cy="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/>
            <p:cNvCxnSpPr/>
            <p:nvPr/>
          </p:nvCxnSpPr>
          <p:spPr>
            <a:xfrm>
              <a:off x="22047055" y="24236189"/>
              <a:ext cx="17068730" cy="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3" name="Group 42"/>
          <p:cNvGrpSpPr/>
          <p:nvPr/>
        </p:nvGrpSpPr>
        <p:grpSpPr>
          <a:xfrm>
            <a:off x="560154" y="1249654"/>
            <a:ext cx="773142" cy="692445"/>
            <a:chOff x="476250" y="10042526"/>
            <a:chExt cx="3482975" cy="3119438"/>
          </a:xfrm>
          <a:solidFill>
            <a:schemeClr val="accent4"/>
          </a:solidFill>
        </p:grpSpPr>
        <p:sp>
          <p:nvSpPr>
            <p:cNvPr id="38" name="Freeform 59"/>
            <p:cNvSpPr>
              <a:spLocks noEditPoints="1"/>
            </p:cNvSpPr>
            <p:nvPr/>
          </p:nvSpPr>
          <p:spPr bwMode="auto">
            <a:xfrm>
              <a:off x="1928813" y="11852276"/>
              <a:ext cx="1298575" cy="1309688"/>
            </a:xfrm>
            <a:custGeom>
              <a:avLst/>
              <a:gdLst>
                <a:gd name="T0" fmla="*/ 98 w 117"/>
                <a:gd name="T1" fmla="*/ 36 h 118"/>
                <a:gd name="T2" fmla="*/ 95 w 117"/>
                <a:gd name="T3" fmla="*/ 31 h 118"/>
                <a:gd name="T4" fmla="*/ 98 w 117"/>
                <a:gd name="T5" fmla="*/ 15 h 118"/>
                <a:gd name="T6" fmla="*/ 90 w 117"/>
                <a:gd name="T7" fmla="*/ 9 h 118"/>
                <a:gd name="T8" fmla="*/ 75 w 117"/>
                <a:gd name="T9" fmla="*/ 17 h 118"/>
                <a:gd name="T10" fmla="*/ 64 w 117"/>
                <a:gd name="T11" fmla="*/ 14 h 118"/>
                <a:gd name="T12" fmla="*/ 56 w 117"/>
                <a:gd name="T13" fmla="*/ 0 h 118"/>
                <a:gd name="T14" fmla="*/ 46 w 117"/>
                <a:gd name="T15" fmla="*/ 2 h 118"/>
                <a:gd name="T16" fmla="*/ 40 w 117"/>
                <a:gd name="T17" fmla="*/ 17 h 118"/>
                <a:gd name="T18" fmla="*/ 36 w 117"/>
                <a:gd name="T19" fmla="*/ 20 h 118"/>
                <a:gd name="T20" fmla="*/ 31 w 117"/>
                <a:gd name="T21" fmla="*/ 23 h 118"/>
                <a:gd name="T22" fmla="*/ 15 w 117"/>
                <a:gd name="T23" fmla="*/ 20 h 118"/>
                <a:gd name="T24" fmla="*/ 9 w 117"/>
                <a:gd name="T25" fmla="*/ 28 h 118"/>
                <a:gd name="T26" fmla="*/ 16 w 117"/>
                <a:gd name="T27" fmla="*/ 42 h 118"/>
                <a:gd name="T28" fmla="*/ 14 w 117"/>
                <a:gd name="T29" fmla="*/ 53 h 118"/>
                <a:gd name="T30" fmla="*/ 0 w 117"/>
                <a:gd name="T31" fmla="*/ 62 h 118"/>
                <a:gd name="T32" fmla="*/ 2 w 117"/>
                <a:gd name="T33" fmla="*/ 72 h 118"/>
                <a:gd name="T34" fmla="*/ 17 w 117"/>
                <a:gd name="T35" fmla="*/ 77 h 118"/>
                <a:gd name="T36" fmla="*/ 20 w 117"/>
                <a:gd name="T37" fmla="*/ 82 h 118"/>
                <a:gd name="T38" fmla="*/ 23 w 117"/>
                <a:gd name="T39" fmla="*/ 87 h 118"/>
                <a:gd name="T40" fmla="*/ 19 w 117"/>
                <a:gd name="T41" fmla="*/ 103 h 118"/>
                <a:gd name="T42" fmla="*/ 28 w 117"/>
                <a:gd name="T43" fmla="*/ 109 h 118"/>
                <a:gd name="T44" fmla="*/ 42 w 117"/>
                <a:gd name="T45" fmla="*/ 101 h 118"/>
                <a:gd name="T46" fmla="*/ 53 w 117"/>
                <a:gd name="T47" fmla="*/ 104 h 118"/>
                <a:gd name="T48" fmla="*/ 62 w 117"/>
                <a:gd name="T49" fmla="*/ 118 h 118"/>
                <a:gd name="T50" fmla="*/ 72 w 117"/>
                <a:gd name="T51" fmla="*/ 116 h 118"/>
                <a:gd name="T52" fmla="*/ 77 w 117"/>
                <a:gd name="T53" fmla="*/ 101 h 118"/>
                <a:gd name="T54" fmla="*/ 82 w 117"/>
                <a:gd name="T55" fmla="*/ 98 h 118"/>
                <a:gd name="T56" fmla="*/ 86 w 117"/>
                <a:gd name="T57" fmla="*/ 95 h 118"/>
                <a:gd name="T58" fmla="*/ 102 w 117"/>
                <a:gd name="T59" fmla="*/ 98 h 118"/>
                <a:gd name="T60" fmla="*/ 108 w 117"/>
                <a:gd name="T61" fmla="*/ 90 h 118"/>
                <a:gd name="T62" fmla="*/ 101 w 117"/>
                <a:gd name="T63" fmla="*/ 75 h 118"/>
                <a:gd name="T64" fmla="*/ 104 w 117"/>
                <a:gd name="T65" fmla="*/ 65 h 118"/>
                <a:gd name="T66" fmla="*/ 117 w 117"/>
                <a:gd name="T67" fmla="*/ 56 h 118"/>
                <a:gd name="T68" fmla="*/ 116 w 117"/>
                <a:gd name="T69" fmla="*/ 46 h 118"/>
                <a:gd name="T70" fmla="*/ 100 w 117"/>
                <a:gd name="T71" fmla="*/ 41 h 118"/>
                <a:gd name="T72" fmla="*/ 98 w 117"/>
                <a:gd name="T73" fmla="*/ 36 h 118"/>
                <a:gd name="T74" fmla="*/ 87 w 117"/>
                <a:gd name="T75" fmla="*/ 68 h 118"/>
                <a:gd name="T76" fmla="*/ 50 w 117"/>
                <a:gd name="T77" fmla="*/ 87 h 118"/>
                <a:gd name="T78" fmla="*/ 31 w 117"/>
                <a:gd name="T79" fmla="*/ 50 h 118"/>
                <a:gd name="T80" fmla="*/ 68 w 117"/>
                <a:gd name="T81" fmla="*/ 31 h 118"/>
                <a:gd name="T82" fmla="*/ 87 w 117"/>
                <a:gd name="T83" fmla="*/ 6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17" h="118">
                  <a:moveTo>
                    <a:pt x="98" y="36"/>
                  </a:moveTo>
                  <a:cubicBezTo>
                    <a:pt x="97" y="34"/>
                    <a:pt x="96" y="33"/>
                    <a:pt x="95" y="31"/>
                  </a:cubicBezTo>
                  <a:cubicBezTo>
                    <a:pt x="98" y="15"/>
                    <a:pt x="98" y="15"/>
                    <a:pt x="98" y="15"/>
                  </a:cubicBezTo>
                  <a:cubicBezTo>
                    <a:pt x="95" y="13"/>
                    <a:pt x="93" y="11"/>
                    <a:pt x="90" y="9"/>
                  </a:cubicBezTo>
                  <a:cubicBezTo>
                    <a:pt x="75" y="17"/>
                    <a:pt x="75" y="17"/>
                    <a:pt x="75" y="17"/>
                  </a:cubicBezTo>
                  <a:cubicBezTo>
                    <a:pt x="72" y="15"/>
                    <a:pt x="68" y="14"/>
                    <a:pt x="64" y="14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2" y="1"/>
                    <a:pt x="49" y="1"/>
                    <a:pt x="46" y="2"/>
                  </a:cubicBezTo>
                  <a:cubicBezTo>
                    <a:pt x="40" y="17"/>
                    <a:pt x="40" y="17"/>
                    <a:pt x="40" y="17"/>
                  </a:cubicBezTo>
                  <a:cubicBezTo>
                    <a:pt x="39" y="18"/>
                    <a:pt x="37" y="19"/>
                    <a:pt x="36" y="20"/>
                  </a:cubicBezTo>
                  <a:cubicBezTo>
                    <a:pt x="34" y="21"/>
                    <a:pt x="32" y="22"/>
                    <a:pt x="31" y="23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3" y="22"/>
                    <a:pt x="11" y="25"/>
                    <a:pt x="9" y="28"/>
                  </a:cubicBezTo>
                  <a:cubicBezTo>
                    <a:pt x="16" y="42"/>
                    <a:pt x="16" y="42"/>
                    <a:pt x="16" y="42"/>
                  </a:cubicBezTo>
                  <a:cubicBezTo>
                    <a:pt x="15" y="46"/>
                    <a:pt x="14" y="50"/>
                    <a:pt x="14" y="53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65"/>
                    <a:pt x="1" y="69"/>
                    <a:pt x="2" y="72"/>
                  </a:cubicBezTo>
                  <a:cubicBezTo>
                    <a:pt x="17" y="77"/>
                    <a:pt x="17" y="77"/>
                    <a:pt x="17" y="77"/>
                  </a:cubicBezTo>
                  <a:cubicBezTo>
                    <a:pt x="18" y="79"/>
                    <a:pt x="19" y="80"/>
                    <a:pt x="20" y="82"/>
                  </a:cubicBezTo>
                  <a:cubicBezTo>
                    <a:pt x="21" y="84"/>
                    <a:pt x="22" y="85"/>
                    <a:pt x="23" y="87"/>
                  </a:cubicBezTo>
                  <a:cubicBezTo>
                    <a:pt x="19" y="103"/>
                    <a:pt x="19" y="103"/>
                    <a:pt x="19" y="103"/>
                  </a:cubicBezTo>
                  <a:cubicBezTo>
                    <a:pt x="22" y="105"/>
                    <a:pt x="25" y="107"/>
                    <a:pt x="28" y="109"/>
                  </a:cubicBezTo>
                  <a:cubicBezTo>
                    <a:pt x="42" y="101"/>
                    <a:pt x="42" y="101"/>
                    <a:pt x="42" y="101"/>
                  </a:cubicBezTo>
                  <a:cubicBezTo>
                    <a:pt x="46" y="103"/>
                    <a:pt x="49" y="104"/>
                    <a:pt x="53" y="104"/>
                  </a:cubicBezTo>
                  <a:cubicBezTo>
                    <a:pt x="62" y="118"/>
                    <a:pt x="62" y="118"/>
                    <a:pt x="62" y="118"/>
                  </a:cubicBezTo>
                  <a:cubicBezTo>
                    <a:pt x="65" y="117"/>
                    <a:pt x="68" y="117"/>
                    <a:pt x="72" y="116"/>
                  </a:cubicBezTo>
                  <a:cubicBezTo>
                    <a:pt x="77" y="101"/>
                    <a:pt x="77" y="101"/>
                    <a:pt x="77" y="101"/>
                  </a:cubicBezTo>
                  <a:cubicBezTo>
                    <a:pt x="78" y="100"/>
                    <a:pt x="80" y="99"/>
                    <a:pt x="82" y="98"/>
                  </a:cubicBezTo>
                  <a:cubicBezTo>
                    <a:pt x="83" y="97"/>
                    <a:pt x="85" y="96"/>
                    <a:pt x="86" y="95"/>
                  </a:cubicBezTo>
                  <a:cubicBezTo>
                    <a:pt x="102" y="98"/>
                    <a:pt x="102" y="98"/>
                    <a:pt x="102" y="98"/>
                  </a:cubicBezTo>
                  <a:cubicBezTo>
                    <a:pt x="104" y="96"/>
                    <a:pt x="106" y="93"/>
                    <a:pt x="108" y="90"/>
                  </a:cubicBezTo>
                  <a:cubicBezTo>
                    <a:pt x="101" y="75"/>
                    <a:pt x="101" y="75"/>
                    <a:pt x="101" y="75"/>
                  </a:cubicBezTo>
                  <a:cubicBezTo>
                    <a:pt x="102" y="72"/>
                    <a:pt x="103" y="68"/>
                    <a:pt x="104" y="65"/>
                  </a:cubicBezTo>
                  <a:cubicBezTo>
                    <a:pt x="117" y="56"/>
                    <a:pt x="117" y="56"/>
                    <a:pt x="117" y="56"/>
                  </a:cubicBezTo>
                  <a:cubicBezTo>
                    <a:pt x="117" y="52"/>
                    <a:pt x="117" y="49"/>
                    <a:pt x="116" y="46"/>
                  </a:cubicBezTo>
                  <a:cubicBezTo>
                    <a:pt x="100" y="41"/>
                    <a:pt x="100" y="41"/>
                    <a:pt x="100" y="41"/>
                  </a:cubicBezTo>
                  <a:cubicBezTo>
                    <a:pt x="99" y="39"/>
                    <a:pt x="99" y="37"/>
                    <a:pt x="98" y="36"/>
                  </a:cubicBezTo>
                  <a:close/>
                  <a:moveTo>
                    <a:pt x="87" y="68"/>
                  </a:moveTo>
                  <a:cubicBezTo>
                    <a:pt x="82" y="83"/>
                    <a:pt x="65" y="92"/>
                    <a:pt x="50" y="87"/>
                  </a:cubicBezTo>
                  <a:cubicBezTo>
                    <a:pt x="34" y="82"/>
                    <a:pt x="26" y="66"/>
                    <a:pt x="31" y="50"/>
                  </a:cubicBezTo>
                  <a:cubicBezTo>
                    <a:pt x="36" y="34"/>
                    <a:pt x="52" y="26"/>
                    <a:pt x="68" y="31"/>
                  </a:cubicBezTo>
                  <a:cubicBezTo>
                    <a:pt x="83" y="36"/>
                    <a:pt x="92" y="52"/>
                    <a:pt x="87" y="6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298" tIns="10149" rIns="20298" bIns="10149" numCol="1" anchor="t" anchorCtr="0" compatLnSpc="1">
              <a:prstTxWarp prst="textNoShape">
                <a:avLst/>
              </a:prstTxWarp>
            </a:bodyPr>
            <a:lstStyle/>
            <a:p>
              <a:endParaRPr lang="de-DE" sz="425"/>
            </a:p>
          </p:txBody>
        </p:sp>
        <p:sp>
          <p:nvSpPr>
            <p:cNvPr id="39" name="Freeform 60"/>
            <p:cNvSpPr>
              <a:spLocks noEditPoints="1"/>
            </p:cNvSpPr>
            <p:nvPr/>
          </p:nvSpPr>
          <p:spPr bwMode="auto">
            <a:xfrm>
              <a:off x="476250" y="10442576"/>
              <a:ext cx="1974850" cy="1965325"/>
            </a:xfrm>
            <a:custGeom>
              <a:avLst/>
              <a:gdLst>
                <a:gd name="T0" fmla="*/ 7 w 178"/>
                <a:gd name="T1" fmla="*/ 123 h 177"/>
                <a:gd name="T2" fmla="*/ 29 w 178"/>
                <a:gd name="T3" fmla="*/ 132 h 177"/>
                <a:gd name="T4" fmla="*/ 35 w 178"/>
                <a:gd name="T5" fmla="*/ 159 h 177"/>
                <a:gd name="T6" fmla="*/ 59 w 178"/>
                <a:gd name="T7" fmla="*/ 156 h 177"/>
                <a:gd name="T8" fmla="*/ 73 w 178"/>
                <a:gd name="T9" fmla="*/ 161 h 177"/>
                <a:gd name="T10" fmla="*/ 92 w 178"/>
                <a:gd name="T11" fmla="*/ 177 h 177"/>
                <a:gd name="T12" fmla="*/ 112 w 178"/>
                <a:gd name="T13" fmla="*/ 159 h 177"/>
                <a:gd name="T14" fmla="*/ 135 w 178"/>
                <a:gd name="T15" fmla="*/ 164 h 177"/>
                <a:gd name="T16" fmla="*/ 144 w 178"/>
                <a:gd name="T17" fmla="*/ 138 h 177"/>
                <a:gd name="T18" fmla="*/ 167 w 178"/>
                <a:gd name="T19" fmla="*/ 131 h 177"/>
                <a:gd name="T20" fmla="*/ 159 w 178"/>
                <a:gd name="T21" fmla="*/ 111 h 177"/>
                <a:gd name="T22" fmla="*/ 177 w 178"/>
                <a:gd name="T23" fmla="*/ 100 h 177"/>
                <a:gd name="T24" fmla="*/ 162 w 178"/>
                <a:gd name="T25" fmla="*/ 80 h 177"/>
                <a:gd name="T26" fmla="*/ 171 w 178"/>
                <a:gd name="T27" fmla="*/ 54 h 177"/>
                <a:gd name="T28" fmla="*/ 148 w 178"/>
                <a:gd name="T29" fmla="*/ 45 h 177"/>
                <a:gd name="T30" fmla="*/ 143 w 178"/>
                <a:gd name="T31" fmla="*/ 18 h 177"/>
                <a:gd name="T32" fmla="*/ 119 w 178"/>
                <a:gd name="T33" fmla="*/ 21 h 177"/>
                <a:gd name="T34" fmla="*/ 104 w 178"/>
                <a:gd name="T35" fmla="*/ 16 h 177"/>
                <a:gd name="T36" fmla="*/ 86 w 178"/>
                <a:gd name="T37" fmla="*/ 0 h 177"/>
                <a:gd name="T38" fmla="*/ 66 w 178"/>
                <a:gd name="T39" fmla="*/ 18 h 177"/>
                <a:gd name="T40" fmla="*/ 42 w 178"/>
                <a:gd name="T41" fmla="*/ 13 h 177"/>
                <a:gd name="T42" fmla="*/ 34 w 178"/>
                <a:gd name="T43" fmla="*/ 39 h 177"/>
                <a:gd name="T44" fmla="*/ 11 w 178"/>
                <a:gd name="T45" fmla="*/ 47 h 177"/>
                <a:gd name="T46" fmla="*/ 19 w 178"/>
                <a:gd name="T47" fmla="*/ 66 h 177"/>
                <a:gd name="T48" fmla="*/ 1 w 178"/>
                <a:gd name="T49" fmla="*/ 77 h 177"/>
                <a:gd name="T50" fmla="*/ 16 w 178"/>
                <a:gd name="T51" fmla="*/ 97 h 177"/>
                <a:gd name="T52" fmla="*/ 143 w 178"/>
                <a:gd name="T53" fmla="*/ 118 h 177"/>
                <a:gd name="T54" fmla="*/ 73 w 178"/>
                <a:gd name="T55" fmla="*/ 145 h 177"/>
                <a:gd name="T56" fmla="*/ 91 w 178"/>
                <a:gd name="T57" fmla="*/ 109 h 177"/>
                <a:gd name="T58" fmla="*/ 102 w 178"/>
                <a:gd name="T59" fmla="*/ 104 h 177"/>
                <a:gd name="T60" fmla="*/ 108 w 178"/>
                <a:gd name="T61" fmla="*/ 102 h 177"/>
                <a:gd name="T62" fmla="*/ 143 w 178"/>
                <a:gd name="T63" fmla="*/ 118 h 177"/>
                <a:gd name="T64" fmla="*/ 92 w 178"/>
                <a:gd name="T65" fmla="*/ 79 h 177"/>
                <a:gd name="T66" fmla="*/ 86 w 178"/>
                <a:gd name="T67" fmla="*/ 98 h 177"/>
                <a:gd name="T68" fmla="*/ 118 w 178"/>
                <a:gd name="T69" fmla="*/ 35 h 177"/>
                <a:gd name="T70" fmla="*/ 146 w 178"/>
                <a:gd name="T71" fmla="*/ 104 h 177"/>
                <a:gd name="T72" fmla="*/ 109 w 178"/>
                <a:gd name="T73" fmla="*/ 86 h 177"/>
                <a:gd name="T74" fmla="*/ 105 w 178"/>
                <a:gd name="T75" fmla="*/ 76 h 177"/>
                <a:gd name="T76" fmla="*/ 103 w 178"/>
                <a:gd name="T77" fmla="*/ 69 h 177"/>
                <a:gd name="T78" fmla="*/ 118 w 178"/>
                <a:gd name="T79" fmla="*/ 35 h 177"/>
                <a:gd name="T80" fmla="*/ 103 w 178"/>
                <a:gd name="T81" fmla="*/ 29 h 177"/>
                <a:gd name="T82" fmla="*/ 92 w 178"/>
                <a:gd name="T83" fmla="*/ 65 h 177"/>
                <a:gd name="T84" fmla="*/ 86 w 178"/>
                <a:gd name="T85" fmla="*/ 69 h 177"/>
                <a:gd name="T86" fmla="*/ 76 w 178"/>
                <a:gd name="T87" fmla="*/ 73 h 177"/>
                <a:gd name="T88" fmla="*/ 36 w 178"/>
                <a:gd name="T89" fmla="*/ 62 h 177"/>
                <a:gd name="T90" fmla="*/ 29 w 178"/>
                <a:gd name="T91" fmla="*/ 74 h 177"/>
                <a:gd name="T92" fmla="*/ 65 w 178"/>
                <a:gd name="T93" fmla="*/ 86 h 177"/>
                <a:gd name="T94" fmla="*/ 69 w 178"/>
                <a:gd name="T95" fmla="*/ 92 h 177"/>
                <a:gd name="T96" fmla="*/ 74 w 178"/>
                <a:gd name="T97" fmla="*/ 102 h 177"/>
                <a:gd name="T98" fmla="*/ 62 w 178"/>
                <a:gd name="T99" fmla="*/ 141 h 177"/>
                <a:gd name="T100" fmla="*/ 29 w 178"/>
                <a:gd name="T101" fmla="*/ 74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78" h="177">
                  <a:moveTo>
                    <a:pt x="19" y="111"/>
                  </a:moveTo>
                  <a:cubicBezTo>
                    <a:pt x="7" y="123"/>
                    <a:pt x="7" y="123"/>
                    <a:pt x="7" y="123"/>
                  </a:cubicBezTo>
                  <a:cubicBezTo>
                    <a:pt x="9" y="127"/>
                    <a:pt x="11" y="131"/>
                    <a:pt x="14" y="135"/>
                  </a:cubicBezTo>
                  <a:cubicBezTo>
                    <a:pt x="29" y="132"/>
                    <a:pt x="29" y="132"/>
                    <a:pt x="29" y="132"/>
                  </a:cubicBezTo>
                  <a:cubicBezTo>
                    <a:pt x="32" y="136"/>
                    <a:pt x="36" y="140"/>
                    <a:pt x="39" y="143"/>
                  </a:cubicBezTo>
                  <a:cubicBezTo>
                    <a:pt x="35" y="159"/>
                    <a:pt x="35" y="159"/>
                    <a:pt x="35" y="159"/>
                  </a:cubicBezTo>
                  <a:cubicBezTo>
                    <a:pt x="39" y="162"/>
                    <a:pt x="43" y="165"/>
                    <a:pt x="47" y="167"/>
                  </a:cubicBezTo>
                  <a:cubicBezTo>
                    <a:pt x="59" y="156"/>
                    <a:pt x="59" y="156"/>
                    <a:pt x="59" y="156"/>
                  </a:cubicBezTo>
                  <a:cubicBezTo>
                    <a:pt x="62" y="157"/>
                    <a:pt x="64" y="158"/>
                    <a:pt x="67" y="159"/>
                  </a:cubicBezTo>
                  <a:cubicBezTo>
                    <a:pt x="69" y="160"/>
                    <a:pt x="71" y="160"/>
                    <a:pt x="73" y="161"/>
                  </a:cubicBezTo>
                  <a:cubicBezTo>
                    <a:pt x="78" y="177"/>
                    <a:pt x="78" y="177"/>
                    <a:pt x="78" y="177"/>
                  </a:cubicBezTo>
                  <a:cubicBezTo>
                    <a:pt x="82" y="177"/>
                    <a:pt x="87" y="177"/>
                    <a:pt x="92" y="177"/>
                  </a:cubicBezTo>
                  <a:cubicBezTo>
                    <a:pt x="97" y="162"/>
                    <a:pt x="97" y="162"/>
                    <a:pt x="97" y="162"/>
                  </a:cubicBezTo>
                  <a:cubicBezTo>
                    <a:pt x="102" y="161"/>
                    <a:pt x="107" y="160"/>
                    <a:pt x="112" y="159"/>
                  </a:cubicBezTo>
                  <a:cubicBezTo>
                    <a:pt x="123" y="170"/>
                    <a:pt x="123" y="170"/>
                    <a:pt x="123" y="170"/>
                  </a:cubicBezTo>
                  <a:cubicBezTo>
                    <a:pt x="127" y="169"/>
                    <a:pt x="131" y="166"/>
                    <a:pt x="135" y="164"/>
                  </a:cubicBezTo>
                  <a:cubicBezTo>
                    <a:pt x="133" y="148"/>
                    <a:pt x="133" y="148"/>
                    <a:pt x="133" y="148"/>
                  </a:cubicBezTo>
                  <a:cubicBezTo>
                    <a:pt x="137" y="145"/>
                    <a:pt x="140" y="142"/>
                    <a:pt x="144" y="138"/>
                  </a:cubicBezTo>
                  <a:cubicBezTo>
                    <a:pt x="159" y="142"/>
                    <a:pt x="159" y="142"/>
                    <a:pt x="159" y="142"/>
                  </a:cubicBezTo>
                  <a:cubicBezTo>
                    <a:pt x="162" y="139"/>
                    <a:pt x="165" y="135"/>
                    <a:pt x="167" y="131"/>
                  </a:cubicBezTo>
                  <a:cubicBezTo>
                    <a:pt x="156" y="118"/>
                    <a:pt x="156" y="118"/>
                    <a:pt x="156" y="118"/>
                  </a:cubicBezTo>
                  <a:cubicBezTo>
                    <a:pt x="157" y="116"/>
                    <a:pt x="158" y="113"/>
                    <a:pt x="159" y="111"/>
                  </a:cubicBezTo>
                  <a:cubicBezTo>
                    <a:pt x="160" y="109"/>
                    <a:pt x="161" y="106"/>
                    <a:pt x="161" y="104"/>
                  </a:cubicBezTo>
                  <a:cubicBezTo>
                    <a:pt x="177" y="100"/>
                    <a:pt x="177" y="100"/>
                    <a:pt x="177" y="100"/>
                  </a:cubicBezTo>
                  <a:cubicBezTo>
                    <a:pt x="177" y="95"/>
                    <a:pt x="178" y="90"/>
                    <a:pt x="177" y="86"/>
                  </a:cubicBezTo>
                  <a:cubicBezTo>
                    <a:pt x="162" y="80"/>
                    <a:pt x="162" y="80"/>
                    <a:pt x="162" y="80"/>
                  </a:cubicBezTo>
                  <a:cubicBezTo>
                    <a:pt x="162" y="75"/>
                    <a:pt x="161" y="70"/>
                    <a:pt x="159" y="66"/>
                  </a:cubicBezTo>
                  <a:cubicBezTo>
                    <a:pt x="171" y="54"/>
                    <a:pt x="171" y="54"/>
                    <a:pt x="171" y="54"/>
                  </a:cubicBezTo>
                  <a:cubicBezTo>
                    <a:pt x="169" y="50"/>
                    <a:pt x="167" y="46"/>
                    <a:pt x="164" y="42"/>
                  </a:cubicBezTo>
                  <a:cubicBezTo>
                    <a:pt x="148" y="45"/>
                    <a:pt x="148" y="45"/>
                    <a:pt x="148" y="45"/>
                  </a:cubicBezTo>
                  <a:cubicBezTo>
                    <a:pt x="145" y="41"/>
                    <a:pt x="142" y="37"/>
                    <a:pt x="138" y="34"/>
                  </a:cubicBezTo>
                  <a:cubicBezTo>
                    <a:pt x="143" y="18"/>
                    <a:pt x="143" y="18"/>
                    <a:pt x="143" y="18"/>
                  </a:cubicBezTo>
                  <a:cubicBezTo>
                    <a:pt x="139" y="15"/>
                    <a:pt x="135" y="13"/>
                    <a:pt x="131" y="10"/>
                  </a:cubicBezTo>
                  <a:cubicBezTo>
                    <a:pt x="119" y="21"/>
                    <a:pt x="119" y="21"/>
                    <a:pt x="119" y="21"/>
                  </a:cubicBezTo>
                  <a:cubicBezTo>
                    <a:pt x="116" y="20"/>
                    <a:pt x="114" y="19"/>
                    <a:pt x="111" y="18"/>
                  </a:cubicBezTo>
                  <a:cubicBezTo>
                    <a:pt x="109" y="17"/>
                    <a:pt x="107" y="17"/>
                    <a:pt x="104" y="16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96" y="0"/>
                    <a:pt x="91" y="0"/>
                    <a:pt x="86" y="0"/>
                  </a:cubicBezTo>
                  <a:cubicBezTo>
                    <a:pt x="81" y="15"/>
                    <a:pt x="81" y="15"/>
                    <a:pt x="81" y="15"/>
                  </a:cubicBezTo>
                  <a:cubicBezTo>
                    <a:pt x="76" y="16"/>
                    <a:pt x="71" y="17"/>
                    <a:pt x="66" y="18"/>
                  </a:cubicBezTo>
                  <a:cubicBezTo>
                    <a:pt x="55" y="7"/>
                    <a:pt x="55" y="7"/>
                    <a:pt x="55" y="7"/>
                  </a:cubicBezTo>
                  <a:cubicBezTo>
                    <a:pt x="50" y="9"/>
                    <a:pt x="46" y="11"/>
                    <a:pt x="42" y="13"/>
                  </a:cubicBezTo>
                  <a:cubicBezTo>
                    <a:pt x="45" y="29"/>
                    <a:pt x="45" y="29"/>
                    <a:pt x="45" y="29"/>
                  </a:cubicBezTo>
                  <a:cubicBezTo>
                    <a:pt x="41" y="32"/>
                    <a:pt x="38" y="35"/>
                    <a:pt x="34" y="39"/>
                  </a:cubicBezTo>
                  <a:cubicBezTo>
                    <a:pt x="18" y="35"/>
                    <a:pt x="18" y="35"/>
                    <a:pt x="18" y="35"/>
                  </a:cubicBezTo>
                  <a:cubicBezTo>
                    <a:pt x="16" y="39"/>
                    <a:pt x="13" y="42"/>
                    <a:pt x="11" y="47"/>
                  </a:cubicBezTo>
                  <a:cubicBezTo>
                    <a:pt x="21" y="59"/>
                    <a:pt x="21" y="59"/>
                    <a:pt x="21" y="59"/>
                  </a:cubicBezTo>
                  <a:cubicBezTo>
                    <a:pt x="20" y="61"/>
                    <a:pt x="19" y="64"/>
                    <a:pt x="19" y="66"/>
                  </a:cubicBezTo>
                  <a:cubicBezTo>
                    <a:pt x="18" y="69"/>
                    <a:pt x="17" y="71"/>
                    <a:pt x="17" y="73"/>
                  </a:cubicBezTo>
                  <a:cubicBezTo>
                    <a:pt x="1" y="77"/>
                    <a:pt x="1" y="77"/>
                    <a:pt x="1" y="77"/>
                  </a:cubicBezTo>
                  <a:cubicBezTo>
                    <a:pt x="0" y="82"/>
                    <a:pt x="0" y="87"/>
                    <a:pt x="0" y="91"/>
                  </a:cubicBezTo>
                  <a:cubicBezTo>
                    <a:pt x="16" y="97"/>
                    <a:pt x="16" y="97"/>
                    <a:pt x="16" y="97"/>
                  </a:cubicBezTo>
                  <a:cubicBezTo>
                    <a:pt x="16" y="102"/>
                    <a:pt x="17" y="107"/>
                    <a:pt x="19" y="111"/>
                  </a:cubicBezTo>
                  <a:close/>
                  <a:moveTo>
                    <a:pt x="143" y="118"/>
                  </a:moveTo>
                  <a:cubicBezTo>
                    <a:pt x="130" y="142"/>
                    <a:pt x="102" y="155"/>
                    <a:pt x="75" y="148"/>
                  </a:cubicBezTo>
                  <a:cubicBezTo>
                    <a:pt x="74" y="148"/>
                    <a:pt x="73" y="147"/>
                    <a:pt x="73" y="145"/>
                  </a:cubicBezTo>
                  <a:cubicBezTo>
                    <a:pt x="86" y="112"/>
                    <a:pt x="86" y="112"/>
                    <a:pt x="86" y="112"/>
                  </a:cubicBezTo>
                  <a:cubicBezTo>
                    <a:pt x="87" y="110"/>
                    <a:pt x="89" y="109"/>
                    <a:pt x="91" y="109"/>
                  </a:cubicBezTo>
                  <a:cubicBezTo>
                    <a:pt x="92" y="109"/>
                    <a:pt x="92" y="109"/>
                    <a:pt x="92" y="108"/>
                  </a:cubicBezTo>
                  <a:cubicBezTo>
                    <a:pt x="96" y="108"/>
                    <a:pt x="99" y="106"/>
                    <a:pt x="102" y="104"/>
                  </a:cubicBezTo>
                  <a:cubicBezTo>
                    <a:pt x="102" y="104"/>
                    <a:pt x="102" y="104"/>
                    <a:pt x="102" y="104"/>
                  </a:cubicBezTo>
                  <a:cubicBezTo>
                    <a:pt x="104" y="102"/>
                    <a:pt x="106" y="102"/>
                    <a:pt x="108" y="102"/>
                  </a:cubicBezTo>
                  <a:cubicBezTo>
                    <a:pt x="141" y="115"/>
                    <a:pt x="141" y="115"/>
                    <a:pt x="141" y="115"/>
                  </a:cubicBezTo>
                  <a:cubicBezTo>
                    <a:pt x="143" y="115"/>
                    <a:pt x="143" y="117"/>
                    <a:pt x="143" y="118"/>
                  </a:cubicBezTo>
                  <a:close/>
                  <a:moveTo>
                    <a:pt x="80" y="86"/>
                  </a:moveTo>
                  <a:cubicBezTo>
                    <a:pt x="81" y="80"/>
                    <a:pt x="87" y="77"/>
                    <a:pt x="92" y="79"/>
                  </a:cubicBezTo>
                  <a:cubicBezTo>
                    <a:pt x="97" y="81"/>
                    <a:pt x="100" y="86"/>
                    <a:pt x="98" y="92"/>
                  </a:cubicBezTo>
                  <a:cubicBezTo>
                    <a:pt x="97" y="97"/>
                    <a:pt x="91" y="100"/>
                    <a:pt x="86" y="98"/>
                  </a:cubicBezTo>
                  <a:cubicBezTo>
                    <a:pt x="81" y="96"/>
                    <a:pt x="78" y="91"/>
                    <a:pt x="80" y="86"/>
                  </a:cubicBezTo>
                  <a:close/>
                  <a:moveTo>
                    <a:pt x="118" y="35"/>
                  </a:moveTo>
                  <a:cubicBezTo>
                    <a:pt x="142" y="48"/>
                    <a:pt x="155" y="76"/>
                    <a:pt x="149" y="103"/>
                  </a:cubicBezTo>
                  <a:cubicBezTo>
                    <a:pt x="148" y="104"/>
                    <a:pt x="147" y="104"/>
                    <a:pt x="146" y="104"/>
                  </a:cubicBezTo>
                  <a:cubicBezTo>
                    <a:pt x="113" y="91"/>
                    <a:pt x="113" y="91"/>
                    <a:pt x="113" y="91"/>
                  </a:cubicBezTo>
                  <a:cubicBezTo>
                    <a:pt x="110" y="90"/>
                    <a:pt x="109" y="89"/>
                    <a:pt x="109" y="86"/>
                  </a:cubicBezTo>
                  <a:cubicBezTo>
                    <a:pt x="109" y="86"/>
                    <a:pt x="109" y="86"/>
                    <a:pt x="109" y="85"/>
                  </a:cubicBezTo>
                  <a:cubicBezTo>
                    <a:pt x="108" y="82"/>
                    <a:pt x="107" y="79"/>
                    <a:pt x="105" y="76"/>
                  </a:cubicBezTo>
                  <a:cubicBezTo>
                    <a:pt x="104" y="76"/>
                    <a:pt x="104" y="75"/>
                    <a:pt x="104" y="75"/>
                  </a:cubicBezTo>
                  <a:cubicBezTo>
                    <a:pt x="102" y="73"/>
                    <a:pt x="102" y="71"/>
                    <a:pt x="103" y="69"/>
                  </a:cubicBezTo>
                  <a:cubicBezTo>
                    <a:pt x="115" y="36"/>
                    <a:pt x="115" y="36"/>
                    <a:pt x="115" y="36"/>
                  </a:cubicBezTo>
                  <a:cubicBezTo>
                    <a:pt x="116" y="35"/>
                    <a:pt x="117" y="34"/>
                    <a:pt x="118" y="35"/>
                  </a:cubicBezTo>
                  <a:close/>
                  <a:moveTo>
                    <a:pt x="35" y="59"/>
                  </a:moveTo>
                  <a:cubicBezTo>
                    <a:pt x="48" y="35"/>
                    <a:pt x="76" y="22"/>
                    <a:pt x="103" y="29"/>
                  </a:cubicBezTo>
                  <a:cubicBezTo>
                    <a:pt x="104" y="29"/>
                    <a:pt x="105" y="31"/>
                    <a:pt x="104" y="32"/>
                  </a:cubicBezTo>
                  <a:cubicBezTo>
                    <a:pt x="92" y="65"/>
                    <a:pt x="92" y="65"/>
                    <a:pt x="92" y="65"/>
                  </a:cubicBezTo>
                  <a:cubicBezTo>
                    <a:pt x="91" y="67"/>
                    <a:pt x="89" y="68"/>
                    <a:pt x="86" y="68"/>
                  </a:cubicBezTo>
                  <a:cubicBezTo>
                    <a:pt x="86" y="68"/>
                    <a:pt x="86" y="69"/>
                    <a:pt x="86" y="69"/>
                  </a:cubicBezTo>
                  <a:cubicBezTo>
                    <a:pt x="82" y="69"/>
                    <a:pt x="79" y="71"/>
                    <a:pt x="76" y="73"/>
                  </a:cubicBezTo>
                  <a:cubicBezTo>
                    <a:pt x="76" y="73"/>
                    <a:pt x="76" y="73"/>
                    <a:pt x="76" y="73"/>
                  </a:cubicBezTo>
                  <a:cubicBezTo>
                    <a:pt x="74" y="75"/>
                    <a:pt x="72" y="76"/>
                    <a:pt x="69" y="75"/>
                  </a:cubicBezTo>
                  <a:cubicBezTo>
                    <a:pt x="36" y="62"/>
                    <a:pt x="36" y="62"/>
                    <a:pt x="36" y="62"/>
                  </a:cubicBezTo>
                  <a:cubicBezTo>
                    <a:pt x="35" y="62"/>
                    <a:pt x="35" y="60"/>
                    <a:pt x="35" y="59"/>
                  </a:cubicBezTo>
                  <a:close/>
                  <a:moveTo>
                    <a:pt x="29" y="74"/>
                  </a:moveTo>
                  <a:cubicBezTo>
                    <a:pt x="30" y="73"/>
                    <a:pt x="31" y="73"/>
                    <a:pt x="32" y="73"/>
                  </a:cubicBezTo>
                  <a:cubicBezTo>
                    <a:pt x="65" y="86"/>
                    <a:pt x="65" y="86"/>
                    <a:pt x="65" y="86"/>
                  </a:cubicBezTo>
                  <a:cubicBezTo>
                    <a:pt x="67" y="87"/>
                    <a:pt x="69" y="88"/>
                    <a:pt x="69" y="91"/>
                  </a:cubicBezTo>
                  <a:cubicBezTo>
                    <a:pt x="69" y="91"/>
                    <a:pt x="69" y="91"/>
                    <a:pt x="69" y="92"/>
                  </a:cubicBezTo>
                  <a:cubicBezTo>
                    <a:pt x="70" y="95"/>
                    <a:pt x="71" y="99"/>
                    <a:pt x="73" y="101"/>
                  </a:cubicBezTo>
                  <a:cubicBezTo>
                    <a:pt x="73" y="102"/>
                    <a:pt x="74" y="102"/>
                    <a:pt x="74" y="102"/>
                  </a:cubicBezTo>
                  <a:cubicBezTo>
                    <a:pt x="76" y="104"/>
                    <a:pt x="76" y="106"/>
                    <a:pt x="75" y="108"/>
                  </a:cubicBezTo>
                  <a:cubicBezTo>
                    <a:pt x="62" y="141"/>
                    <a:pt x="62" y="141"/>
                    <a:pt x="62" y="141"/>
                  </a:cubicBezTo>
                  <a:cubicBezTo>
                    <a:pt x="62" y="142"/>
                    <a:pt x="61" y="143"/>
                    <a:pt x="60" y="142"/>
                  </a:cubicBezTo>
                  <a:cubicBezTo>
                    <a:pt x="36" y="129"/>
                    <a:pt x="23" y="102"/>
                    <a:pt x="29" y="7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298" tIns="10149" rIns="20298" bIns="10149" numCol="1" anchor="t" anchorCtr="0" compatLnSpc="1">
              <a:prstTxWarp prst="textNoShape">
                <a:avLst/>
              </a:prstTxWarp>
            </a:bodyPr>
            <a:lstStyle/>
            <a:p>
              <a:endParaRPr lang="de-DE" sz="425"/>
            </a:p>
          </p:txBody>
        </p:sp>
        <p:sp>
          <p:nvSpPr>
            <p:cNvPr id="40" name="Freeform 61"/>
            <p:cNvSpPr>
              <a:spLocks noEditPoints="1"/>
            </p:cNvSpPr>
            <p:nvPr/>
          </p:nvSpPr>
          <p:spPr bwMode="auto">
            <a:xfrm>
              <a:off x="2273300" y="10042526"/>
              <a:ext cx="1685925" cy="1687513"/>
            </a:xfrm>
            <a:custGeom>
              <a:avLst/>
              <a:gdLst>
                <a:gd name="T0" fmla="*/ 18 w 152"/>
                <a:gd name="T1" fmla="*/ 89 h 152"/>
                <a:gd name="T2" fmla="*/ 4 w 152"/>
                <a:gd name="T3" fmla="*/ 103 h 152"/>
                <a:gd name="T4" fmla="*/ 7 w 152"/>
                <a:gd name="T5" fmla="*/ 108 h 152"/>
                <a:gd name="T6" fmla="*/ 10 w 152"/>
                <a:gd name="T7" fmla="*/ 114 h 152"/>
                <a:gd name="T8" fmla="*/ 29 w 152"/>
                <a:gd name="T9" fmla="*/ 113 h 152"/>
                <a:gd name="T10" fmla="*/ 37 w 152"/>
                <a:gd name="T11" fmla="*/ 120 h 152"/>
                <a:gd name="T12" fmla="*/ 34 w 152"/>
                <a:gd name="T13" fmla="*/ 140 h 152"/>
                <a:gd name="T14" fmla="*/ 45 w 152"/>
                <a:gd name="T15" fmla="*/ 146 h 152"/>
                <a:gd name="T16" fmla="*/ 60 w 152"/>
                <a:gd name="T17" fmla="*/ 133 h 152"/>
                <a:gd name="T18" fmla="*/ 70 w 152"/>
                <a:gd name="T19" fmla="*/ 135 h 152"/>
                <a:gd name="T20" fmla="*/ 79 w 152"/>
                <a:gd name="T21" fmla="*/ 152 h 152"/>
                <a:gd name="T22" fmla="*/ 92 w 152"/>
                <a:gd name="T23" fmla="*/ 151 h 152"/>
                <a:gd name="T24" fmla="*/ 96 w 152"/>
                <a:gd name="T25" fmla="*/ 132 h 152"/>
                <a:gd name="T26" fmla="*/ 101 w 152"/>
                <a:gd name="T27" fmla="*/ 130 h 152"/>
                <a:gd name="T28" fmla="*/ 106 w 152"/>
                <a:gd name="T29" fmla="*/ 127 h 152"/>
                <a:gd name="T30" fmla="*/ 123 w 152"/>
                <a:gd name="T31" fmla="*/ 136 h 152"/>
                <a:gd name="T32" fmla="*/ 132 w 152"/>
                <a:gd name="T33" fmla="*/ 127 h 152"/>
                <a:gd name="T34" fmla="*/ 125 w 152"/>
                <a:gd name="T35" fmla="*/ 109 h 152"/>
                <a:gd name="T36" fmla="*/ 130 w 152"/>
                <a:gd name="T37" fmla="*/ 100 h 152"/>
                <a:gd name="T38" fmla="*/ 149 w 152"/>
                <a:gd name="T39" fmla="*/ 96 h 152"/>
                <a:gd name="T40" fmla="*/ 152 w 152"/>
                <a:gd name="T41" fmla="*/ 84 h 152"/>
                <a:gd name="T42" fmla="*/ 135 w 152"/>
                <a:gd name="T43" fmla="*/ 74 h 152"/>
                <a:gd name="T44" fmla="*/ 134 w 152"/>
                <a:gd name="T45" fmla="*/ 63 h 152"/>
                <a:gd name="T46" fmla="*/ 147 w 152"/>
                <a:gd name="T47" fmla="*/ 49 h 152"/>
                <a:gd name="T48" fmla="*/ 145 w 152"/>
                <a:gd name="T49" fmla="*/ 44 h 152"/>
                <a:gd name="T50" fmla="*/ 142 w 152"/>
                <a:gd name="T51" fmla="*/ 38 h 152"/>
                <a:gd name="T52" fmla="*/ 122 w 152"/>
                <a:gd name="T53" fmla="*/ 39 h 152"/>
                <a:gd name="T54" fmla="*/ 115 w 152"/>
                <a:gd name="T55" fmla="*/ 32 h 152"/>
                <a:gd name="T56" fmla="*/ 118 w 152"/>
                <a:gd name="T57" fmla="*/ 12 h 152"/>
                <a:gd name="T58" fmla="*/ 107 w 152"/>
                <a:gd name="T59" fmla="*/ 6 h 152"/>
                <a:gd name="T60" fmla="*/ 92 w 152"/>
                <a:gd name="T61" fmla="*/ 19 h 152"/>
                <a:gd name="T62" fmla="*/ 82 w 152"/>
                <a:gd name="T63" fmla="*/ 17 h 152"/>
                <a:gd name="T64" fmla="*/ 73 w 152"/>
                <a:gd name="T65" fmla="*/ 0 h 152"/>
                <a:gd name="T66" fmla="*/ 60 w 152"/>
                <a:gd name="T67" fmla="*/ 1 h 152"/>
                <a:gd name="T68" fmla="*/ 56 w 152"/>
                <a:gd name="T69" fmla="*/ 21 h 152"/>
                <a:gd name="T70" fmla="*/ 51 w 152"/>
                <a:gd name="T71" fmla="*/ 22 h 152"/>
                <a:gd name="T72" fmla="*/ 46 w 152"/>
                <a:gd name="T73" fmla="*/ 25 h 152"/>
                <a:gd name="T74" fmla="*/ 29 w 152"/>
                <a:gd name="T75" fmla="*/ 16 h 152"/>
                <a:gd name="T76" fmla="*/ 19 w 152"/>
                <a:gd name="T77" fmla="*/ 25 h 152"/>
                <a:gd name="T78" fmla="*/ 27 w 152"/>
                <a:gd name="T79" fmla="*/ 43 h 152"/>
                <a:gd name="T80" fmla="*/ 22 w 152"/>
                <a:gd name="T81" fmla="*/ 52 h 152"/>
                <a:gd name="T82" fmla="*/ 2 w 152"/>
                <a:gd name="T83" fmla="*/ 56 h 152"/>
                <a:gd name="T84" fmla="*/ 0 w 152"/>
                <a:gd name="T85" fmla="*/ 68 h 152"/>
                <a:gd name="T86" fmla="*/ 17 w 152"/>
                <a:gd name="T87" fmla="*/ 78 h 152"/>
                <a:gd name="T88" fmla="*/ 18 w 152"/>
                <a:gd name="T89" fmla="*/ 89 h 152"/>
                <a:gd name="T90" fmla="*/ 34 w 152"/>
                <a:gd name="T91" fmla="*/ 63 h 152"/>
                <a:gd name="T92" fmla="*/ 89 w 152"/>
                <a:gd name="T93" fmla="*/ 34 h 152"/>
                <a:gd name="T94" fmla="*/ 117 w 152"/>
                <a:gd name="T95" fmla="*/ 89 h 152"/>
                <a:gd name="T96" fmla="*/ 63 w 152"/>
                <a:gd name="T97" fmla="*/ 118 h 152"/>
                <a:gd name="T98" fmla="*/ 34 w 152"/>
                <a:gd name="T99" fmla="*/ 63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52" h="152">
                  <a:moveTo>
                    <a:pt x="18" y="89"/>
                  </a:moveTo>
                  <a:cubicBezTo>
                    <a:pt x="4" y="103"/>
                    <a:pt x="4" y="103"/>
                    <a:pt x="4" y="103"/>
                  </a:cubicBezTo>
                  <a:cubicBezTo>
                    <a:pt x="5" y="105"/>
                    <a:pt x="6" y="107"/>
                    <a:pt x="7" y="108"/>
                  </a:cubicBezTo>
                  <a:cubicBezTo>
                    <a:pt x="8" y="110"/>
                    <a:pt x="9" y="112"/>
                    <a:pt x="10" y="114"/>
                  </a:cubicBezTo>
                  <a:cubicBezTo>
                    <a:pt x="29" y="113"/>
                    <a:pt x="29" y="113"/>
                    <a:pt x="29" y="113"/>
                  </a:cubicBezTo>
                  <a:cubicBezTo>
                    <a:pt x="32" y="115"/>
                    <a:pt x="34" y="118"/>
                    <a:pt x="37" y="120"/>
                  </a:cubicBezTo>
                  <a:cubicBezTo>
                    <a:pt x="34" y="140"/>
                    <a:pt x="34" y="140"/>
                    <a:pt x="34" y="140"/>
                  </a:cubicBezTo>
                  <a:cubicBezTo>
                    <a:pt x="37" y="142"/>
                    <a:pt x="41" y="144"/>
                    <a:pt x="45" y="146"/>
                  </a:cubicBezTo>
                  <a:cubicBezTo>
                    <a:pt x="60" y="133"/>
                    <a:pt x="60" y="133"/>
                    <a:pt x="60" y="133"/>
                  </a:cubicBezTo>
                  <a:cubicBezTo>
                    <a:pt x="63" y="134"/>
                    <a:pt x="67" y="135"/>
                    <a:pt x="70" y="135"/>
                  </a:cubicBezTo>
                  <a:cubicBezTo>
                    <a:pt x="79" y="152"/>
                    <a:pt x="79" y="152"/>
                    <a:pt x="79" y="152"/>
                  </a:cubicBezTo>
                  <a:cubicBezTo>
                    <a:pt x="83" y="152"/>
                    <a:pt x="87" y="152"/>
                    <a:pt x="92" y="151"/>
                  </a:cubicBezTo>
                  <a:cubicBezTo>
                    <a:pt x="96" y="132"/>
                    <a:pt x="96" y="132"/>
                    <a:pt x="96" y="132"/>
                  </a:cubicBezTo>
                  <a:cubicBezTo>
                    <a:pt x="98" y="131"/>
                    <a:pt x="99" y="130"/>
                    <a:pt x="101" y="130"/>
                  </a:cubicBezTo>
                  <a:cubicBezTo>
                    <a:pt x="103" y="129"/>
                    <a:pt x="104" y="128"/>
                    <a:pt x="106" y="127"/>
                  </a:cubicBezTo>
                  <a:cubicBezTo>
                    <a:pt x="123" y="136"/>
                    <a:pt x="123" y="136"/>
                    <a:pt x="123" y="136"/>
                  </a:cubicBezTo>
                  <a:cubicBezTo>
                    <a:pt x="127" y="133"/>
                    <a:pt x="130" y="130"/>
                    <a:pt x="132" y="127"/>
                  </a:cubicBezTo>
                  <a:cubicBezTo>
                    <a:pt x="125" y="109"/>
                    <a:pt x="125" y="109"/>
                    <a:pt x="125" y="109"/>
                  </a:cubicBezTo>
                  <a:cubicBezTo>
                    <a:pt x="127" y="106"/>
                    <a:pt x="129" y="103"/>
                    <a:pt x="130" y="100"/>
                  </a:cubicBezTo>
                  <a:cubicBezTo>
                    <a:pt x="149" y="96"/>
                    <a:pt x="149" y="96"/>
                    <a:pt x="149" y="96"/>
                  </a:cubicBezTo>
                  <a:cubicBezTo>
                    <a:pt x="151" y="92"/>
                    <a:pt x="151" y="88"/>
                    <a:pt x="152" y="84"/>
                  </a:cubicBezTo>
                  <a:cubicBezTo>
                    <a:pt x="135" y="74"/>
                    <a:pt x="135" y="74"/>
                    <a:pt x="135" y="74"/>
                  </a:cubicBezTo>
                  <a:cubicBezTo>
                    <a:pt x="135" y="70"/>
                    <a:pt x="134" y="67"/>
                    <a:pt x="134" y="63"/>
                  </a:cubicBezTo>
                  <a:cubicBezTo>
                    <a:pt x="147" y="49"/>
                    <a:pt x="147" y="49"/>
                    <a:pt x="147" y="49"/>
                  </a:cubicBezTo>
                  <a:cubicBezTo>
                    <a:pt x="147" y="47"/>
                    <a:pt x="146" y="45"/>
                    <a:pt x="145" y="44"/>
                  </a:cubicBezTo>
                  <a:cubicBezTo>
                    <a:pt x="144" y="42"/>
                    <a:pt x="143" y="40"/>
                    <a:pt x="142" y="38"/>
                  </a:cubicBezTo>
                  <a:cubicBezTo>
                    <a:pt x="122" y="39"/>
                    <a:pt x="122" y="39"/>
                    <a:pt x="122" y="39"/>
                  </a:cubicBezTo>
                  <a:cubicBezTo>
                    <a:pt x="120" y="37"/>
                    <a:pt x="118" y="34"/>
                    <a:pt x="115" y="32"/>
                  </a:cubicBezTo>
                  <a:cubicBezTo>
                    <a:pt x="118" y="12"/>
                    <a:pt x="118" y="12"/>
                    <a:pt x="118" y="12"/>
                  </a:cubicBezTo>
                  <a:cubicBezTo>
                    <a:pt x="115" y="10"/>
                    <a:pt x="111" y="8"/>
                    <a:pt x="107" y="6"/>
                  </a:cubicBezTo>
                  <a:cubicBezTo>
                    <a:pt x="92" y="19"/>
                    <a:pt x="92" y="19"/>
                    <a:pt x="92" y="19"/>
                  </a:cubicBezTo>
                  <a:cubicBezTo>
                    <a:pt x="89" y="18"/>
                    <a:pt x="85" y="17"/>
                    <a:pt x="82" y="17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69" y="0"/>
                    <a:pt x="64" y="0"/>
                    <a:pt x="60" y="1"/>
                  </a:cubicBezTo>
                  <a:cubicBezTo>
                    <a:pt x="56" y="21"/>
                    <a:pt x="56" y="21"/>
                    <a:pt x="56" y="21"/>
                  </a:cubicBezTo>
                  <a:cubicBezTo>
                    <a:pt x="54" y="21"/>
                    <a:pt x="53" y="22"/>
                    <a:pt x="51" y="22"/>
                  </a:cubicBezTo>
                  <a:cubicBezTo>
                    <a:pt x="49" y="23"/>
                    <a:pt x="48" y="24"/>
                    <a:pt x="46" y="25"/>
                  </a:cubicBezTo>
                  <a:cubicBezTo>
                    <a:pt x="29" y="16"/>
                    <a:pt x="29" y="16"/>
                    <a:pt x="29" y="16"/>
                  </a:cubicBezTo>
                  <a:cubicBezTo>
                    <a:pt x="25" y="19"/>
                    <a:pt x="22" y="22"/>
                    <a:pt x="19" y="25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5" y="46"/>
                    <a:pt x="23" y="49"/>
                    <a:pt x="22" y="52"/>
                  </a:cubicBezTo>
                  <a:cubicBezTo>
                    <a:pt x="2" y="56"/>
                    <a:pt x="2" y="56"/>
                    <a:pt x="2" y="56"/>
                  </a:cubicBezTo>
                  <a:cubicBezTo>
                    <a:pt x="1" y="60"/>
                    <a:pt x="1" y="64"/>
                    <a:pt x="0" y="68"/>
                  </a:cubicBezTo>
                  <a:cubicBezTo>
                    <a:pt x="17" y="78"/>
                    <a:pt x="17" y="78"/>
                    <a:pt x="17" y="78"/>
                  </a:cubicBezTo>
                  <a:cubicBezTo>
                    <a:pt x="17" y="82"/>
                    <a:pt x="17" y="85"/>
                    <a:pt x="18" y="89"/>
                  </a:cubicBezTo>
                  <a:close/>
                  <a:moveTo>
                    <a:pt x="34" y="63"/>
                  </a:moveTo>
                  <a:cubicBezTo>
                    <a:pt x="42" y="40"/>
                    <a:pt x="66" y="27"/>
                    <a:pt x="89" y="34"/>
                  </a:cubicBezTo>
                  <a:cubicBezTo>
                    <a:pt x="112" y="42"/>
                    <a:pt x="125" y="66"/>
                    <a:pt x="117" y="89"/>
                  </a:cubicBezTo>
                  <a:cubicBezTo>
                    <a:pt x="110" y="112"/>
                    <a:pt x="86" y="125"/>
                    <a:pt x="63" y="118"/>
                  </a:cubicBezTo>
                  <a:cubicBezTo>
                    <a:pt x="40" y="110"/>
                    <a:pt x="27" y="86"/>
                    <a:pt x="34" y="6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298" tIns="10149" rIns="20298" bIns="10149" numCol="1" anchor="t" anchorCtr="0" compatLnSpc="1">
              <a:prstTxWarp prst="textNoShape">
                <a:avLst/>
              </a:prstTxWarp>
            </a:bodyPr>
            <a:lstStyle/>
            <a:p>
              <a:endParaRPr lang="de-DE" sz="425"/>
            </a:p>
          </p:txBody>
        </p:sp>
        <p:sp>
          <p:nvSpPr>
            <p:cNvPr id="41" name="Freeform 62"/>
            <p:cNvSpPr>
              <a:spLocks/>
            </p:cNvSpPr>
            <p:nvPr/>
          </p:nvSpPr>
          <p:spPr bwMode="auto">
            <a:xfrm>
              <a:off x="2760663" y="10975976"/>
              <a:ext cx="709612" cy="365125"/>
            </a:xfrm>
            <a:custGeom>
              <a:avLst/>
              <a:gdLst>
                <a:gd name="T0" fmla="*/ 64 w 64"/>
                <a:gd name="T1" fmla="*/ 11 h 33"/>
                <a:gd name="T2" fmla="*/ 63 w 64"/>
                <a:gd name="T3" fmla="*/ 11 h 33"/>
                <a:gd name="T4" fmla="*/ 49 w 64"/>
                <a:gd name="T5" fmla="*/ 4 h 33"/>
                <a:gd name="T6" fmla="*/ 44 w 64"/>
                <a:gd name="T7" fmla="*/ 0 h 33"/>
                <a:gd name="T8" fmla="*/ 41 w 64"/>
                <a:gd name="T9" fmla="*/ 5 h 33"/>
                <a:gd name="T10" fmla="*/ 32 w 64"/>
                <a:gd name="T11" fmla="*/ 13 h 33"/>
                <a:gd name="T12" fmla="*/ 23 w 64"/>
                <a:gd name="T13" fmla="*/ 5 h 33"/>
                <a:gd name="T14" fmla="*/ 20 w 64"/>
                <a:gd name="T15" fmla="*/ 0 h 33"/>
                <a:gd name="T16" fmla="*/ 15 w 64"/>
                <a:gd name="T17" fmla="*/ 4 h 33"/>
                <a:gd name="T18" fmla="*/ 1 w 64"/>
                <a:gd name="T19" fmla="*/ 11 h 33"/>
                <a:gd name="T20" fmla="*/ 0 w 64"/>
                <a:gd name="T21" fmla="*/ 11 h 33"/>
                <a:gd name="T22" fmla="*/ 21 w 64"/>
                <a:gd name="T23" fmla="*/ 28 h 33"/>
                <a:gd name="T24" fmla="*/ 64 w 64"/>
                <a:gd name="T25" fmla="*/ 1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4" h="33">
                  <a:moveTo>
                    <a:pt x="64" y="11"/>
                  </a:moveTo>
                  <a:cubicBezTo>
                    <a:pt x="64" y="11"/>
                    <a:pt x="63" y="11"/>
                    <a:pt x="63" y="11"/>
                  </a:cubicBezTo>
                  <a:cubicBezTo>
                    <a:pt x="49" y="4"/>
                    <a:pt x="49" y="4"/>
                    <a:pt x="49" y="4"/>
                  </a:cubicBezTo>
                  <a:cubicBezTo>
                    <a:pt x="46" y="2"/>
                    <a:pt x="45" y="1"/>
                    <a:pt x="44" y="0"/>
                  </a:cubicBezTo>
                  <a:cubicBezTo>
                    <a:pt x="41" y="5"/>
                    <a:pt x="41" y="5"/>
                    <a:pt x="41" y="5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23" y="5"/>
                    <a:pt x="23" y="5"/>
                    <a:pt x="23" y="5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18" y="1"/>
                    <a:pt x="17" y="2"/>
                    <a:pt x="15" y="4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4" y="19"/>
                    <a:pt x="12" y="25"/>
                    <a:pt x="21" y="28"/>
                  </a:cubicBezTo>
                  <a:cubicBezTo>
                    <a:pt x="37" y="33"/>
                    <a:pt x="55" y="26"/>
                    <a:pt x="6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298" tIns="10149" rIns="20298" bIns="10149" numCol="1" anchor="t" anchorCtr="0" compatLnSpc="1">
              <a:prstTxWarp prst="textNoShape">
                <a:avLst/>
              </a:prstTxWarp>
            </a:bodyPr>
            <a:lstStyle/>
            <a:p>
              <a:endParaRPr lang="de-DE" sz="425"/>
            </a:p>
          </p:txBody>
        </p:sp>
        <p:sp>
          <p:nvSpPr>
            <p:cNvPr id="42" name="Freeform 63"/>
            <p:cNvSpPr>
              <a:spLocks/>
            </p:cNvSpPr>
            <p:nvPr/>
          </p:nvSpPr>
          <p:spPr bwMode="auto">
            <a:xfrm>
              <a:off x="2916238" y="10509251"/>
              <a:ext cx="400050" cy="511175"/>
            </a:xfrm>
            <a:custGeom>
              <a:avLst/>
              <a:gdLst>
                <a:gd name="T0" fmla="*/ 2 w 36"/>
                <a:gd name="T1" fmla="*/ 18 h 46"/>
                <a:gd name="T2" fmla="*/ 2 w 36"/>
                <a:gd name="T3" fmla="*/ 19 h 46"/>
                <a:gd name="T4" fmla="*/ 1 w 36"/>
                <a:gd name="T5" fmla="*/ 21 h 46"/>
                <a:gd name="T6" fmla="*/ 3 w 36"/>
                <a:gd name="T7" fmla="*/ 28 h 46"/>
                <a:gd name="T8" fmla="*/ 4 w 36"/>
                <a:gd name="T9" fmla="*/ 28 h 46"/>
                <a:gd name="T10" fmla="*/ 6 w 36"/>
                <a:gd name="T11" fmla="*/ 31 h 46"/>
                <a:gd name="T12" fmla="*/ 30 w 36"/>
                <a:gd name="T13" fmla="*/ 31 h 46"/>
                <a:gd name="T14" fmla="*/ 32 w 36"/>
                <a:gd name="T15" fmla="*/ 28 h 46"/>
                <a:gd name="T16" fmla="*/ 33 w 36"/>
                <a:gd name="T17" fmla="*/ 28 h 46"/>
                <a:gd name="T18" fmla="*/ 35 w 36"/>
                <a:gd name="T19" fmla="*/ 21 h 46"/>
                <a:gd name="T20" fmla="*/ 34 w 36"/>
                <a:gd name="T21" fmla="*/ 19 h 46"/>
                <a:gd name="T22" fmla="*/ 34 w 36"/>
                <a:gd name="T23" fmla="*/ 18 h 46"/>
                <a:gd name="T24" fmla="*/ 18 w 36"/>
                <a:gd name="T25" fmla="*/ 0 h 46"/>
                <a:gd name="T26" fmla="*/ 2 w 36"/>
                <a:gd name="T27" fmla="*/ 18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6" h="46">
                  <a:moveTo>
                    <a:pt x="2" y="18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2" y="21"/>
                    <a:pt x="1" y="20"/>
                    <a:pt x="1" y="21"/>
                  </a:cubicBezTo>
                  <a:cubicBezTo>
                    <a:pt x="0" y="23"/>
                    <a:pt x="1" y="26"/>
                    <a:pt x="3" y="28"/>
                  </a:cubicBezTo>
                  <a:cubicBezTo>
                    <a:pt x="3" y="28"/>
                    <a:pt x="4" y="28"/>
                    <a:pt x="4" y="28"/>
                  </a:cubicBezTo>
                  <a:cubicBezTo>
                    <a:pt x="5" y="29"/>
                    <a:pt x="5" y="30"/>
                    <a:pt x="6" y="31"/>
                  </a:cubicBezTo>
                  <a:cubicBezTo>
                    <a:pt x="13" y="46"/>
                    <a:pt x="23" y="46"/>
                    <a:pt x="30" y="31"/>
                  </a:cubicBezTo>
                  <a:cubicBezTo>
                    <a:pt x="31" y="30"/>
                    <a:pt x="31" y="29"/>
                    <a:pt x="32" y="28"/>
                  </a:cubicBezTo>
                  <a:cubicBezTo>
                    <a:pt x="32" y="28"/>
                    <a:pt x="32" y="28"/>
                    <a:pt x="33" y="28"/>
                  </a:cubicBezTo>
                  <a:cubicBezTo>
                    <a:pt x="34" y="26"/>
                    <a:pt x="36" y="23"/>
                    <a:pt x="35" y="21"/>
                  </a:cubicBezTo>
                  <a:cubicBezTo>
                    <a:pt x="34" y="20"/>
                    <a:pt x="34" y="21"/>
                    <a:pt x="34" y="19"/>
                  </a:cubicBezTo>
                  <a:cubicBezTo>
                    <a:pt x="34" y="19"/>
                    <a:pt x="34" y="19"/>
                    <a:pt x="34" y="18"/>
                  </a:cubicBezTo>
                  <a:cubicBezTo>
                    <a:pt x="34" y="8"/>
                    <a:pt x="30" y="0"/>
                    <a:pt x="18" y="0"/>
                  </a:cubicBezTo>
                  <a:cubicBezTo>
                    <a:pt x="6" y="0"/>
                    <a:pt x="2" y="8"/>
                    <a:pt x="2" y="1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20298" tIns="10149" rIns="20298" bIns="10149" numCol="1" anchor="t" anchorCtr="0" compatLnSpc="1">
              <a:prstTxWarp prst="textNoShape">
                <a:avLst/>
              </a:prstTxWarp>
            </a:bodyPr>
            <a:lstStyle/>
            <a:p>
              <a:endParaRPr lang="de-DE" sz="425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xmlns="" id="{065C9121-A5A4-4E07-9EF9-CE3DAA5DDD70}"/>
              </a:ext>
            </a:extLst>
          </p:cNvPr>
          <p:cNvGrpSpPr/>
          <p:nvPr/>
        </p:nvGrpSpPr>
        <p:grpSpPr>
          <a:xfrm>
            <a:off x="2330988" y="3756668"/>
            <a:ext cx="3658794" cy="2589000"/>
            <a:chOff x="4986556" y="16923641"/>
            <a:chExt cx="16482720" cy="11663340"/>
          </a:xfrm>
        </p:grpSpPr>
        <p:pic>
          <p:nvPicPr>
            <p:cNvPr id="66" name="Picture 65"/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4986556" y="16923641"/>
              <a:ext cx="16482720" cy="11663340"/>
            </a:xfrm>
            <a:prstGeom prst="rect">
              <a:avLst/>
            </a:prstGeom>
          </p:spPr>
        </p:pic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xmlns="" id="{9CBC23AB-3F46-472A-906D-7E5F53C9D90E}"/>
                </a:ext>
              </a:extLst>
            </p:cNvPr>
            <p:cNvSpPr txBox="1"/>
            <p:nvPr>
              <p:custDataLst>
                <p:tags r:id="rId3"/>
              </p:custDataLst>
            </p:nvPr>
          </p:nvSpPr>
          <p:spPr>
            <a:xfrm>
              <a:off x="7976050" y="17272099"/>
              <a:ext cx="993779" cy="485339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16915" tIns="16915" rIns="16915" bIns="16915" numCol="1" anchor="t" anchorCtr="0" compatLnSpc="1">
              <a:prstTxWarp prst="textNoShape">
                <a:avLst/>
              </a:prstTxWarp>
              <a:noAutofit/>
            </a:bodyPr>
            <a:lstStyle>
              <a:lvl1pPr marL="0" lvl="0" indent="0" defTabSz="4172600" eaLnBrk="1" hangingPunct="1">
                <a:buClr>
                  <a:schemeClr val="tx2"/>
                </a:buClr>
                <a:defRPr lang="en-US" sz="4000" baseline="0" noProof="0" dirty="0" smtClean="0">
                  <a:latin typeface="+mn-lt"/>
                </a:defRPr>
              </a:lvl1pPr>
              <a:lvl2pPr marL="447675" lvl="1" indent="-439738" defTabSz="4172600" eaLnBrk="1" hangingPunct="1">
                <a:buClr>
                  <a:schemeClr val="tx2"/>
                </a:buClr>
                <a:buSzPct val="125000"/>
                <a:buFont typeface="Arial" panose="020B0604020202020204" pitchFamily="34" charset="0"/>
                <a:buChar char="•"/>
                <a:defRPr lang="en-US" sz="4000" baseline="0" noProof="0" dirty="0" smtClean="0">
                  <a:latin typeface="+mn-lt"/>
                </a:defRPr>
              </a:lvl2pPr>
              <a:lvl3pPr marL="1076325" lvl="2" indent="-628650" defTabSz="4172600" eaLnBrk="1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lang="en-US" sz="4000" baseline="0" noProof="0" dirty="0" smtClean="0">
                  <a:latin typeface="+mn-lt"/>
                </a:defRPr>
              </a:lvl3pPr>
              <a:lvl4pPr marL="1614488" lvl="3" indent="-539750" defTabSz="4172600" eaLnBrk="1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◦"/>
                <a:defRPr lang="en-US" sz="4000" baseline="0" noProof="0" dirty="0" smtClean="0">
                  <a:latin typeface="+mn-lt"/>
                </a:defRPr>
              </a:lvl4pPr>
              <a:lvl5pPr marL="2062163" lvl="4" indent="-447675" defTabSz="417260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de-DE" sz="4000" baseline="0" noProof="0" dirty="0">
                  <a:latin typeface="+mn-lt"/>
                </a:defRPr>
              </a:lvl5pPr>
              <a:lvl6pPr marL="3494330" indent="-606655" defTabSz="417260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3494330" indent="-606655" defTabSz="417260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3494330" indent="-606655" defTabSz="417260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3494330" indent="-606655" defTabSz="417260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endParaRPr lang="en-US" sz="1110" dirty="0">
                <a:solidFill>
                  <a:schemeClr val="bg1"/>
                </a:solidFill>
              </a:endParaRPr>
            </a:p>
          </p:txBody>
        </p:sp>
      </p:grpSp>
      <p:sp>
        <p:nvSpPr>
          <p:cNvPr id="67" name="Rectangle 13">
            <a:extLst>
              <a:ext uri="{FF2B5EF4-FFF2-40B4-BE49-F238E27FC236}">
                <a16:creationId xmlns:a16="http://schemas.microsoft.com/office/drawing/2014/main" xmlns="" id="{55F5C253-485C-354C-A84B-2189D399E0A8}"/>
              </a:ext>
            </a:extLst>
          </p:cNvPr>
          <p:cNvSpPr>
            <a:spLocks noChangeArrowheads="1"/>
          </p:cNvSpPr>
          <p:nvPr/>
        </p:nvSpPr>
        <p:spPr bwMode="gray">
          <a:xfrm>
            <a:off x="-1" y="16550"/>
            <a:ext cx="1940491" cy="142736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Healthcare | </a:t>
            </a:r>
            <a:r>
              <a:rPr lang="pl-PL" sz="1000" b="1" dirty="0" err="1">
                <a:solidFill>
                  <a:srgbClr val="FFFFFF"/>
                </a:solidFill>
                <a:latin typeface="Arial" pitchFamily="34" charset="0"/>
              </a:rPr>
              <a:t>North</a:t>
            </a:r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 </a:t>
            </a:r>
            <a:r>
              <a:rPr lang="pl-PL" sz="1000" b="1" dirty="0" err="1">
                <a:solidFill>
                  <a:srgbClr val="FFFFFF"/>
                </a:solidFill>
                <a:latin typeface="Arial" pitchFamily="34" charset="0"/>
              </a:rPr>
              <a:t>America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68" name="Rectangle 13">
            <a:extLst>
              <a:ext uri="{FF2B5EF4-FFF2-40B4-BE49-F238E27FC236}">
                <a16:creationId xmlns:a16="http://schemas.microsoft.com/office/drawing/2014/main" xmlns="" id="{89D9FE9E-DC96-9045-99CB-4879F3C041C5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332694" y="0"/>
            <a:ext cx="618006" cy="133178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HSS005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74814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XPANDSHOWBAR" val="True"/>
  <p:tag name="BULLETTYPE" val="3"/>
  <p:tag name="RESPCOUNTERSTYLE" val="-1"/>
  <p:tag name="INPUTSOURCE" val="1"/>
  <p:tag name="BACKUPMAINTENANCE" val="7"/>
  <p:tag name="ROTATIONINTERVAL" val="2"/>
  <p:tag name="RACERSMAXDISPLAYED" val="5"/>
  <p:tag name="TEAMSINLEADERBOARD" val="5"/>
  <p:tag name="BUBBLEVALUEFORMAT" val="0.0"/>
  <p:tag name="CUSTOMCELLFORECOLOR" val="-16777216"/>
  <p:tag name="CUSTOMCELLBACKCOLOR4" val="-8355712"/>
  <p:tag name="DISPLAYDEVICEID" val="True"/>
  <p:tag name="GRIDSIZE" val="{Width=800, Height=600}"/>
  <p:tag name="CHARTCOLORS" val="0"/>
  <p:tag name="MULTIRESPDIVISOR" val="1"/>
  <p:tag name="INCORRECTPOINTVALUE" val="0"/>
  <p:tag name="AUTOADJUSTPARTRANGE" val="True"/>
  <p:tag name="FIBNUMRESULTS" val="5"/>
  <p:tag name="PRRESPONSE2" val="9"/>
  <p:tag name="PRRESPONSE6" val="5"/>
  <p:tag name="PRRESPONSE10" val="1"/>
  <p:tag name="SHOWBARVISIBLE" val="True"/>
  <p:tag name="ANSWERNOWSTYLE" val="-1"/>
  <p:tag name="RESPTABLESTYLE" val="-1"/>
  <p:tag name="BACKUPSESSIONS" val="True"/>
  <p:tag name="AUTOUPDATEALIASES" val="True"/>
  <p:tag name="SKIPREMAININGRACESLIDES" val="True"/>
  <p:tag name="BUBBLESIZEVISIBLE" val="True"/>
  <p:tag name="CUSTOMCELLBACKCOLOR1" val="-657956"/>
  <p:tag name="DISPLAYNAME" val="True"/>
  <p:tag name="AUTOSIZEGRID" val="True"/>
  <p:tag name="CHARTLABELS" val="1"/>
  <p:tag name="ALLOWUSERFEEDBACK" val="True"/>
  <p:tag name="ZEROBASED" val="False"/>
  <p:tag name="FIBINCLUDEOTHER" val="True"/>
  <p:tag name="PRRESPONSE4" val="7"/>
  <p:tag name="PRRESPONSE9" val="2"/>
  <p:tag name="SAVECSVWITHSESSION" val="False"/>
  <p:tag name="RESPCOUNTERFORMAT" val="0"/>
  <p:tag name="CHARTVALUEFORMAT" val="0%"/>
  <p:tag name="RACEENDPOINTS" val="100"/>
  <p:tag name="BUBBLENAMEVISIBLE" val="True"/>
  <p:tag name="CUSTOMCELLBACKCOLOR2" val="-13395457"/>
  <p:tag name="GRIDOPACITY" val="90"/>
  <p:tag name="POLLINGCYCLE" val="2"/>
  <p:tag name="CORRECTPOINTVALUE" val="1"/>
  <p:tag name="ADVANCEDSETTINGSVIEW" val="False"/>
  <p:tag name="PRRESPONSE3" val="8"/>
  <p:tag name="SHOWFLASHWARNING" val="True"/>
  <p:tag name="POWERPOINTVERSION" val="14.0"/>
  <p:tag name="COUNTDOWNSTYLE" val="-1"/>
  <p:tag name="AUTOADVANCE" val="False"/>
  <p:tag name="PARTICIPANTSINLEADERBOARD" val="5"/>
  <p:tag name="CUSTOMGRIDBACKCOLOR" val="-722948"/>
  <p:tag name="GRIDROTATIONINTERVAL" val="2"/>
  <p:tag name="INCLUDENONRESPONDERS" val="False"/>
  <p:tag name="CHARTSCALE" val="True"/>
  <p:tag name="PRRESPONSE5" val="6"/>
  <p:tag name="CS" val="1,2"/>
  <p:tag name="ANSWERNOWTEXT" val="Answer Now"/>
  <p:tag name="REVIEWONLY" val="False"/>
  <p:tag name="BUBBLEGROUPING" val="3"/>
  <p:tag name="DISPLAYDEVICENUMBER" val="True"/>
  <p:tag name="INCLUDEPPT" val="True"/>
  <p:tag name="FIBDISPLAYKEYWORDS" val="True"/>
  <p:tag name="ALWAYSOPENPOLL" val="False"/>
  <p:tag name="COUNTDOWNSECONDS" val="10"/>
  <p:tag name="RACEANIMATIONSPEED" val="3"/>
  <p:tag name="USESCHEMECOLORS" val="True"/>
  <p:tag name="REALTIMEBACKUP" val="False"/>
  <p:tag name="PRRESPONSE7" val="4"/>
  <p:tag name="CSVFORMAT" val="0"/>
  <p:tag name="MAXRESPONDERS" val="5"/>
  <p:tag name="GRIDFONTSIZE" val="12"/>
  <p:tag name="PRRESPONSE1" val="10"/>
  <p:tag name="NUMRESPONSES" val="1"/>
  <p:tag name="CUSTOMCELLBACKCOLOR3" val="-268652"/>
  <p:tag name="FIBDISPLAYRESULTS" val="True"/>
  <p:tag name="ALLOWDUPLICATES" val="False"/>
  <p:tag name="RESETCHARTS" val="True"/>
  <p:tag name="USESECONDARYMONITOR" val="True"/>
  <p:tag name="REALTIMEBACKUPPATH" val="(None)"/>
  <p:tag name="DEFAULTNUMTEAMS" val="5"/>
  <p:tag name="STDCHART" val="1"/>
  <p:tag name="GRIDPOSITION" val="1"/>
  <p:tag name="TPVERSION" val="2008"/>
  <p:tag name="PRRESPONSE8" val="3"/>
  <p:tag name="DELIMITERS" val="3.1"/>
  <p:tag name="THINKCELLPRESENTATIONDONOTDELETE" val="&lt;?xml version=&quot;1.0&quot; encoding=&quot;UTF-16&quot; standalone=&quot;yes&quot;?&gt;&#10;&lt;root reqver=&quot;17839&quot;&gt;&lt;version val=&quot;21174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1&quot;&gt;&lt;elem m_fUsage=&quot;1.89999999999999990000E+000&quot;&gt;&lt;m_ppcolschidx val=&quot;0&quot;/&gt;&lt;m_rgb r=&quot;ef&quot; g=&quot;46&quot; b=&quot;32&quot;/&gt;&lt;/elem&gt;&lt;/m_vecMRU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ASKPANEKEY" val="6bacb330-14da-4ae4-985f-ccfa9dbd3fd8"/>
  <p:tag name="TPFULLVERSION" val="4.5.1.2243"/>
  <p:tag name="THINKCELLUNDODONOTDELETE" val="0"/>
  <p:tag name="ISNEWSLIDENUMBER" val="False"/>
  <p:tag name="NEWNAMES" val="True"/>
  <p:tag name="PREVIOUSNAME" val="C:\Users\Anuradha Sarin\Documents\16 Case Codification process\M&amp;S Cases\Plakat AOK case Study_english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heme/theme1.xml><?xml version="1.0" encoding="utf-8"?>
<a:theme xmlns:a="http://schemas.openxmlformats.org/drawingml/2006/main" name="CF_A0_Landscape">
  <a:themeElements>
    <a:clrScheme name="Custom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EAEAEA"/>
      </a:accent1>
      <a:accent2>
        <a:srgbClr val="D0D0D0"/>
      </a:accent2>
      <a:accent3>
        <a:srgbClr val="909090"/>
      </a:accent3>
      <a:accent4>
        <a:srgbClr val="606060"/>
      </a:accent4>
      <a:accent5>
        <a:srgbClr val="EF4632"/>
      </a:accent5>
      <a:accent6>
        <a:srgbClr val="333333"/>
      </a:accent6>
      <a:hlink>
        <a:srgbClr val="909090"/>
      </a:hlink>
      <a:folHlink>
        <a:srgbClr val="6060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sz="40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stom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EF4632"/>
        </a:accent5>
        <a:accent6>
          <a:srgbClr val="333333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CF_A0_Landscape.potx" id="{5D7F71C2-CC2B-4201-9CD2-3EEC247EC141}" vid="{A4FD76DB-0785-4D63-B476-F9588560D404}"/>
    </a:ext>
  </a:extLst>
</a:theme>
</file>

<file path=ppt/theme/theme2.xml><?xml version="1.0" encoding="utf-8"?>
<a:theme xmlns:a="http://schemas.openxmlformats.org/drawingml/2006/main" name="Firm Format - English (US)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English (US)" id="{EAC5EF4B-70F8-4D10-9379-45E30AADA438}" vid="{22D5582C-07FE-4E2D-BF40-F8817E22A1AE}"/>
    </a:ext>
  </a:extLst>
</a:theme>
</file>

<file path=ppt/theme/theme3.xml><?xml version="1.0" encoding="utf-8"?>
<a:theme xmlns:a="http://schemas.openxmlformats.org/drawingml/2006/main" name="1_Firm Format - English (US)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English (US)" id="{EAC5EF4B-70F8-4D10-9379-45E30AADA438}" vid="{22D5582C-07FE-4E2D-BF40-F8817E22A1AE}"/>
    </a:ext>
  </a:extLst>
</a:theme>
</file>

<file path=ppt/theme/theme4.xml><?xml version="1.0" encoding="utf-8"?>
<a:theme xmlns:a="http://schemas.openxmlformats.org/drawingml/2006/main" name="M&amp;S Them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&amp;S Theme" id="{B3C59C3A-AFD1-C14F-8EEE-3BF76D303094}" vid="{262060A8-7AF0-4745-B3F8-1F0C69862F8B}"/>
    </a:ext>
  </a:extLst>
</a:theme>
</file>

<file path=ppt/theme/theme5.xml><?xml version="1.0" encoding="utf-8"?>
<a:theme xmlns:a="http://schemas.openxmlformats.org/drawingml/2006/main" name="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63BA7BF6-B6E9-4263-BAC0-A9858E8AABB2}"/>
    </a:ext>
  </a:extLst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F_A0_Landscape</Template>
  <TotalTime>1766</TotalTime>
  <Words>173</Words>
  <Application>Microsoft Macintosh PowerPoint</Application>
  <PresentationFormat>Custom</PresentationFormat>
  <Paragraphs>39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ＭＳ Ｐゴシック</vt:lpstr>
      <vt:lpstr>Arial</vt:lpstr>
      <vt:lpstr>CF_A0_Landscape</vt:lpstr>
      <vt:lpstr>Firm Format - English (US)</vt:lpstr>
      <vt:lpstr>1_Firm Format - English (US)</vt:lpstr>
      <vt:lpstr>M&amp;S Theme</vt:lpstr>
      <vt:lpstr>Firm Format - template_Grey</vt:lpstr>
      <vt:lpstr>think-cell Slide</vt:lpstr>
      <vt:lpstr>CLIENT Lower Saxony customer orientation transformation </vt:lpstr>
    </vt:vector>
  </TitlesOfParts>
  <Company>McK</Company>
  <LinksUpToDate>false</LinksUpToDate>
  <SharedDoc>false</SharedDoc>
  <HyperlinksChanged>false</HyperlinksChanged>
  <AppVersion>15.003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0 landscape 1.189 x 841 mm (Arial 100 pt bold, top-aligned)</dc:title>
  <dc:creator>Aleksandra Matuszews</dc:creator>
  <cp:lastModifiedBy>Petra Vincent</cp:lastModifiedBy>
  <cp:revision>95</cp:revision>
  <cp:lastPrinted>2016-11-29T12:31:57Z</cp:lastPrinted>
  <dcterms:created xsi:type="dcterms:W3CDTF">2016-06-01T10:57:14Z</dcterms:created>
  <dcterms:modified xsi:type="dcterms:W3CDTF">2019-05-21T22:39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um</vt:lpwstr>
  </property>
  <property fmtid="{D5CDD505-2E9C-101B-9397-08002B2CF9AE}" pid="6" name="Office2010EditCount">
    <vt:lpwstr>1</vt:lpwstr>
  </property>
  <property fmtid="{D5CDD505-2E9C-101B-9397-08002B2CF9AE}" pid="7" name="Office2003EditCount">
    <vt:lpwstr>0</vt:lpwstr>
  </property>
  <property fmtid="{D5CDD505-2E9C-101B-9397-08002B2CF9AE}" pid="8" name="LastEditedOfficeVersion">
    <vt:lpwstr>Office2010</vt:lpwstr>
  </property>
  <property fmtid="{D5CDD505-2E9C-101B-9397-08002B2CF9AE}" pid="9" name="DocID">
    <vt:lpwstr>ESC-AAA123-20130227-</vt:lpwstr>
  </property>
  <property fmtid="{D5CDD505-2E9C-101B-9397-08002B2CF9AE}" pid="10" name="Office2010WasSaved">
    <vt:lpwstr>1</vt:lpwstr>
  </property>
</Properties>
</file>